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</p:sldIdLst>
  <p:sldSz cx="12192000" cy="6858000"/>
  <p:notesSz cx="6858000" cy="9144000"/>
  <p:custDataLst>
    <p:tags r:id="rId5"/>
  </p:custDataLst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72" autoAdjust="0"/>
    <p:restoredTop sz="94660"/>
  </p:normalViewPr>
  <p:slideViewPr>
    <p:cSldViewPr snapToGrid="0">
      <p:cViewPr>
        <p:scale>
          <a:sx n="75" d="100"/>
          <a:sy n="75" d="100"/>
        </p:scale>
        <p:origin x="57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478458049886622E-2"/>
          <c:y val="2.9478458049886622E-2"/>
          <c:w val="0.94104308390022673"/>
          <c:h val="0.94104308390022673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2AD-4112-8A9E-02FCD903670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2AD-4112-8A9E-02FCD903670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2AD-4112-8A9E-02FCD903670F}"/>
              </c:ext>
            </c:extLst>
          </c:dPt>
          <c:dLbls>
            <c:dLbl>
              <c:idx val="0"/>
              <c:layout>
                <c:manualLayout>
                  <c:x val="0.15646258503401361"/>
                  <c:y val="5.66893424036281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2AD-4112-8A9E-02FCD903670F}"/>
                </c:ext>
              </c:extLst>
            </c:dLbl>
            <c:dLbl>
              <c:idx val="1"/>
              <c:layout>
                <c:manualLayout>
                  <c:x val="-0.16043083900226757"/>
                  <c:y val="-5.158730158730158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2AD-4112-8A9E-02FCD903670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1.3</c:v>
                </c:pt>
                <c:pt idx="1">
                  <c:v>37</c:v>
                </c:pt>
                <c:pt idx="2">
                  <c:v>1.7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AD-4112-8A9E-02FCD90367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036036036036036E-2"/>
          <c:y val="2.9478458049886622E-2"/>
          <c:w val="0.93468468468468469"/>
          <c:h val="0.94104308390022673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0E2-402E-89C9-29F3FDD4E62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0E2-402E-89C9-29F3FDD4E62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0E2-402E-89C9-29F3FDD4E628}"/>
              </c:ext>
            </c:extLst>
          </c:dPt>
          <c:dLbls>
            <c:dLbl>
              <c:idx val="0"/>
              <c:layout>
                <c:manualLayout>
                  <c:x val="0.16047297297297297"/>
                  <c:y val="4.365079365079364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0E2-402E-89C9-29F3FDD4E628}"/>
                </c:ext>
              </c:extLst>
            </c:dLbl>
            <c:dLbl>
              <c:idx val="1"/>
              <c:layout>
                <c:manualLayout>
                  <c:x val="-0.17004504504504506"/>
                  <c:y val="1.190476190476190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0E2-402E-89C9-29F3FDD4E628}"/>
                </c:ext>
              </c:extLst>
            </c:dLbl>
            <c:dLbl>
              <c:idx val="2"/>
              <c:layout>
                <c:manualLayout>
                  <c:x val="-6.0810810810810814E-2"/>
                  <c:y val="-0.1689342403628117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0E2-402E-89C9-29F3FDD4E6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58.699999999999996</c:v>
                </c:pt>
                <c:pt idx="1">
                  <c:v>30.2</c:v>
                </c:pt>
                <c:pt idx="2">
                  <c:v>11.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0E2-402E-89C9-29F3FDD4E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478458049886622E-2"/>
          <c:y val="2.9478458049886622E-2"/>
          <c:w val="0.94104308390022673"/>
          <c:h val="0.94104308390022673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96F-406B-BF88-4F23682A6A4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96F-406B-BF88-4F23682A6A4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96F-406B-BF88-4F23682A6A4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96F-406B-BF88-4F23682A6A4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96F-406B-BF88-4F23682A6A43}"/>
              </c:ext>
            </c:extLst>
          </c:dPt>
          <c:dLbls>
            <c:dLbl>
              <c:idx val="0"/>
              <c:layout>
                <c:manualLayout>
                  <c:x val="0.12131519274376418"/>
                  <c:y val="0.1122448979591836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6F-406B-BF88-4F23682A6A43}"/>
                </c:ext>
              </c:extLst>
            </c:dLbl>
            <c:dLbl>
              <c:idx val="1"/>
              <c:layout>
                <c:manualLayout>
                  <c:x val="-0.15702947845804988"/>
                  <c:y val="-5.895691609977324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6F-406B-BF88-4F23682A6A43}"/>
                </c:ext>
              </c:extLst>
            </c:dLbl>
            <c:dLbl>
              <c:idx val="2"/>
              <c:layout>
                <c:manualLayout>
                  <c:x val="-0.10034013605442177"/>
                  <c:y val="-0.1524943310657596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6F-406B-BF88-4F23682A6A43}"/>
                </c:ext>
              </c:extLst>
            </c:dLbl>
            <c:dLbl>
              <c:idx val="3"/>
              <c:layout>
                <c:manualLayout>
                  <c:x val="-4.7052154195011339E-2"/>
                  <c:y val="-0.1825396825396825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6F-406B-BF88-4F23682A6A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73.900000000000006</c:v>
                </c:pt>
                <c:pt idx="1">
                  <c:v>13.200000000000001</c:v>
                </c:pt>
                <c:pt idx="2">
                  <c:v>6.9</c:v>
                </c:pt>
                <c:pt idx="3">
                  <c:v>3.6999999999999997</c:v>
                </c:pt>
                <c:pt idx="4">
                  <c:v>2.19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96F-406B-BF88-4F23682A6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346711259754736E-2"/>
          <c:y val="2.9478458049886622E-2"/>
          <c:w val="0.9253065774804905"/>
          <c:h val="0.94104308390022673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961-40F6-9A91-CB428EFF479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961-40F6-9A91-CB428EFF479A}"/>
              </c:ext>
            </c:extLst>
          </c:dPt>
          <c:dLbls>
            <c:dLbl>
              <c:idx val="0"/>
              <c:layout>
                <c:manualLayout>
                  <c:x val="0.17001114827201783"/>
                  <c:y val="7.369614512471655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61-40F6-9A91-CB428EFF479A}"/>
                </c:ext>
              </c:extLst>
            </c:dLbl>
            <c:dLbl>
              <c:idx val="1"/>
              <c:layout>
                <c:manualLayout>
                  <c:x val="-0.17001114827201783"/>
                  <c:y val="-1.077097505668934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A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61-40F6-9A91-CB428EFF479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51.7</c:v>
                </c:pt>
                <c:pt idx="1">
                  <c:v>48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61-40F6-9A91-CB428EFF47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1BCF9A3-8081-41D6-8187-E52262540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0E95808-1459-41EE-BD96-78E1E87E6D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502523A-2597-44A5-ACE0-B27DD8E11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B36E811-EC29-451E-83BF-079642BB5D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A7BB3FC-79D9-4B15-9C2B-CE6D6AB47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370293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843E3E-4A25-4E66-8C30-D990D9DCA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49849BB-D344-405B-8D30-F669320490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291DC88-F04C-4C2D-8F08-9870539DE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3955936-B865-4538-A4D3-BCEE6737F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E89CF38-5BE2-4246-8A9D-BD6BE769D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0618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C6DEABB-DAAA-4325-9355-4A6447A5089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47E5FA1-3BB6-4B98-BC85-23A36169F7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8E7199F-AE3C-4F3D-88F4-E24771035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CB1F2F4-B4D4-457E-BDE4-963568B28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5F082BD-1EEC-436C-AAF5-04E87AEEA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460930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BAEA96D-6D43-49C9-B71C-EDAF938A6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6885056-9C1D-4092-BA0D-666B6552FE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8AD123-A7A6-477B-9327-A96627D92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A373832-8522-49B5-AABC-A7A2472AD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D08F1E4-55CC-48A3-BF9D-139A139C6E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278978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0918BFC-1A46-4B32-8CDA-3CB830345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E6CCAA4-D8D4-4E41-A2AE-0F84C670C6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5ECABF9-A893-484E-85D2-9423767F1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F5B5DFF-C28A-41EF-A9AC-E166801C2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D79B3B3-EFA5-4F5B-9D66-DF38FA809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477673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8C976B5-3721-47C6-8EFC-0D6BFBA28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5B1E66C-234E-401E-8A43-4625484EF1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81E3DCEC-0449-49CC-9997-64606493CA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E666AC6-CD95-4995-8245-99B96A4B4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210B72-48E9-43B7-B418-A9F7627B2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06BBDDF-4E1F-4041-AF0B-EF1C6510E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195479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1FD009-2708-4969-A620-6E16C83C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EF83779-E06F-482B-9E25-681CB25DEA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2AA2AA2-D0BE-4447-9DA9-D8DC0383FF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01A615C-3B62-49A9-AF5C-945A8E6B0A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E0D795A8-B2EB-4F72-A9BE-C579975F3C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97541814-065E-46BD-A641-3302415171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559DAC6-AF82-490C-BF0B-C5DE53BE6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4CF9BDAA-D968-4540-B50B-70A94C1AA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62132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3DCEA3B-2291-4997-8FE7-893BF300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9A41025F-B2C3-458A-9B97-C5D23891B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8B3564E-5203-4E78-A0EC-C67174914C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7C1EADC-8FFA-4F18-9A0F-44BD9620B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11877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33B448C-C711-4CF6-BD95-B708F906C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4A744FF-6B37-4213-BB7B-13A3E1EE1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9A92ECC-FE27-4E9E-BB5A-B910863F3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44848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03A1CE-ADC3-430A-AD6C-D8D2F3D97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C9A0378-C9A5-4348-9B45-D339A95F07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556AEB6-3DDC-4443-9F0F-D3DCFF6786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DD4FDD5-35DE-4AB0-AE55-13CC440C1C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CC188C1-4DA6-49BF-A6F5-923D9808C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1431BEF-2607-4C55-98F0-BB5A96F1A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5249149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187988-FC10-49F9-BC39-43CC3E200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B9FE64D-7746-4D6C-9C26-01A3125B45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9B99B4A-D156-43B8-85DA-6C720DDBF7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FCE0CEC-A8BB-4D15-B86A-9D20A2982D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E3862BF-472B-4243-A3DE-563C8F1CA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4BF7DD9-87B6-49E2-88F2-0D46961EC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584992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F2F22E5-11D2-4E91-8F1B-B304E1FEAD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66007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Diapositiva de think-cell" r:id="rId15" imgW="378" imgH="379" progId="TCLayout.ActiveDocument.1">
                  <p:embed/>
                </p:oleObj>
              </mc:Choice>
              <mc:Fallback>
                <p:oleObj name="Diapositiva de think-cell" r:id="rId1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836C5C7B-27AC-412A-AE4D-604274FC6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996CCD4-4981-4209-A418-3346CC77EC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BB383A-8F3C-4B7E-992A-CCFD74DBAE3C}" type="datetimeFigureOut">
              <a:rPr lang="es-AR" smtClean="0"/>
              <a:t>27/3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70B6E06-E541-4FF8-9D90-F49FEF4268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0F4C15E-1C15-42FB-8515-DA44F8DA1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2911D-E7F2-4829-A600-FA5B8D7297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82034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slideLayout" Target="../slideLayouts/slideLayout1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chart" Target="../charts/chart1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oleObject" Target="../embeddings/oleObject2.bin"/><Relationship Id="rId45" Type="http://schemas.openxmlformats.org/officeDocument/2006/relationships/chart" Target="../charts/chart4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chart" Target="../charts/chart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chart" Target="../charts/chart2.xml"/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20" Type="http://schemas.openxmlformats.org/officeDocument/2006/relationships/tags" Target="../tags/tag21.xml"/><Relationship Id="rId41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41.xml"/><Relationship Id="rId21" Type="http://schemas.openxmlformats.org/officeDocument/2006/relationships/image" Target="../media/image2.png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image" Target="../media/image4.png"/><Relationship Id="rId10" Type="http://schemas.openxmlformats.org/officeDocument/2006/relationships/tags" Target="../tags/tag48.xml"/><Relationship Id="rId19" Type="http://schemas.openxmlformats.org/officeDocument/2006/relationships/oleObject" Target="../embeddings/oleObject3.bin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80.xml"/><Relationship Id="rId21" Type="http://schemas.openxmlformats.org/officeDocument/2006/relationships/tags" Target="../tags/tag75.xml"/><Relationship Id="rId42" Type="http://schemas.openxmlformats.org/officeDocument/2006/relationships/tags" Target="../tags/tag96.xml"/><Relationship Id="rId47" Type="http://schemas.openxmlformats.org/officeDocument/2006/relationships/tags" Target="../tags/tag101.xml"/><Relationship Id="rId63" Type="http://schemas.openxmlformats.org/officeDocument/2006/relationships/tags" Target="../tags/tag117.xml"/><Relationship Id="rId68" Type="http://schemas.openxmlformats.org/officeDocument/2006/relationships/oleObject" Target="../embeddings/oleObject4.bin"/><Relationship Id="rId7" Type="http://schemas.openxmlformats.org/officeDocument/2006/relationships/tags" Target="../tags/tag61.xml"/><Relationship Id="rId71" Type="http://schemas.openxmlformats.org/officeDocument/2006/relationships/image" Target="../media/image3.png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9" Type="http://schemas.openxmlformats.org/officeDocument/2006/relationships/tags" Target="../tags/tag83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32" Type="http://schemas.openxmlformats.org/officeDocument/2006/relationships/tags" Target="../tags/tag86.xml"/><Relationship Id="rId37" Type="http://schemas.openxmlformats.org/officeDocument/2006/relationships/tags" Target="../tags/tag91.xml"/><Relationship Id="rId40" Type="http://schemas.openxmlformats.org/officeDocument/2006/relationships/tags" Target="../tags/tag94.xml"/><Relationship Id="rId45" Type="http://schemas.openxmlformats.org/officeDocument/2006/relationships/tags" Target="../tags/tag99.xml"/><Relationship Id="rId53" Type="http://schemas.openxmlformats.org/officeDocument/2006/relationships/tags" Target="../tags/tag107.xml"/><Relationship Id="rId58" Type="http://schemas.openxmlformats.org/officeDocument/2006/relationships/tags" Target="../tags/tag112.xml"/><Relationship Id="rId66" Type="http://schemas.openxmlformats.org/officeDocument/2006/relationships/tags" Target="../tags/tag120.xml"/><Relationship Id="rId5" Type="http://schemas.openxmlformats.org/officeDocument/2006/relationships/tags" Target="../tags/tag59.xml"/><Relationship Id="rId61" Type="http://schemas.openxmlformats.org/officeDocument/2006/relationships/tags" Target="../tags/tag115.xml"/><Relationship Id="rId19" Type="http://schemas.openxmlformats.org/officeDocument/2006/relationships/tags" Target="../tags/tag7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30" Type="http://schemas.openxmlformats.org/officeDocument/2006/relationships/tags" Target="../tags/tag84.xml"/><Relationship Id="rId35" Type="http://schemas.openxmlformats.org/officeDocument/2006/relationships/tags" Target="../tags/tag89.xml"/><Relationship Id="rId43" Type="http://schemas.openxmlformats.org/officeDocument/2006/relationships/tags" Target="../tags/tag97.xml"/><Relationship Id="rId48" Type="http://schemas.openxmlformats.org/officeDocument/2006/relationships/tags" Target="../tags/tag102.xml"/><Relationship Id="rId56" Type="http://schemas.openxmlformats.org/officeDocument/2006/relationships/tags" Target="../tags/tag110.xml"/><Relationship Id="rId64" Type="http://schemas.openxmlformats.org/officeDocument/2006/relationships/tags" Target="../tags/tag118.xml"/><Relationship Id="rId69" Type="http://schemas.openxmlformats.org/officeDocument/2006/relationships/image" Target="../media/image1.emf"/><Relationship Id="rId8" Type="http://schemas.openxmlformats.org/officeDocument/2006/relationships/tags" Target="../tags/tag62.xml"/><Relationship Id="rId51" Type="http://schemas.openxmlformats.org/officeDocument/2006/relationships/tags" Target="../tags/tag105.xml"/><Relationship Id="rId72" Type="http://schemas.openxmlformats.org/officeDocument/2006/relationships/image" Target="../media/image4.png"/><Relationship Id="rId3" Type="http://schemas.openxmlformats.org/officeDocument/2006/relationships/tags" Target="../tags/tag57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33" Type="http://schemas.openxmlformats.org/officeDocument/2006/relationships/tags" Target="../tags/tag87.xml"/><Relationship Id="rId38" Type="http://schemas.openxmlformats.org/officeDocument/2006/relationships/tags" Target="../tags/tag92.xml"/><Relationship Id="rId46" Type="http://schemas.openxmlformats.org/officeDocument/2006/relationships/tags" Target="../tags/tag100.xml"/><Relationship Id="rId59" Type="http://schemas.openxmlformats.org/officeDocument/2006/relationships/tags" Target="../tags/tag113.xml"/><Relationship Id="rId67" Type="http://schemas.openxmlformats.org/officeDocument/2006/relationships/slideLayout" Target="../slideLayouts/slideLayout1.xml"/><Relationship Id="rId20" Type="http://schemas.openxmlformats.org/officeDocument/2006/relationships/tags" Target="../tags/tag74.xml"/><Relationship Id="rId41" Type="http://schemas.openxmlformats.org/officeDocument/2006/relationships/tags" Target="../tags/tag95.xml"/><Relationship Id="rId54" Type="http://schemas.openxmlformats.org/officeDocument/2006/relationships/tags" Target="../tags/tag108.xml"/><Relationship Id="rId62" Type="http://schemas.openxmlformats.org/officeDocument/2006/relationships/tags" Target="../tags/tag116.xml"/><Relationship Id="rId70" Type="http://schemas.openxmlformats.org/officeDocument/2006/relationships/image" Target="../media/image2.png"/><Relationship Id="rId1" Type="http://schemas.openxmlformats.org/officeDocument/2006/relationships/vmlDrawing" Target="../drawings/vmlDrawing4.vml"/><Relationship Id="rId6" Type="http://schemas.openxmlformats.org/officeDocument/2006/relationships/tags" Target="../tags/tag60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36" Type="http://schemas.openxmlformats.org/officeDocument/2006/relationships/tags" Target="../tags/tag90.xml"/><Relationship Id="rId49" Type="http://schemas.openxmlformats.org/officeDocument/2006/relationships/tags" Target="../tags/tag103.xml"/><Relationship Id="rId57" Type="http://schemas.openxmlformats.org/officeDocument/2006/relationships/tags" Target="../tags/tag111.xml"/><Relationship Id="rId10" Type="http://schemas.openxmlformats.org/officeDocument/2006/relationships/tags" Target="../tags/tag64.xml"/><Relationship Id="rId31" Type="http://schemas.openxmlformats.org/officeDocument/2006/relationships/tags" Target="../tags/tag85.xml"/><Relationship Id="rId44" Type="http://schemas.openxmlformats.org/officeDocument/2006/relationships/tags" Target="../tags/tag98.xml"/><Relationship Id="rId52" Type="http://schemas.openxmlformats.org/officeDocument/2006/relationships/tags" Target="../tags/tag106.xml"/><Relationship Id="rId60" Type="http://schemas.openxmlformats.org/officeDocument/2006/relationships/tags" Target="../tags/tag114.xml"/><Relationship Id="rId65" Type="http://schemas.openxmlformats.org/officeDocument/2006/relationships/tags" Target="../tags/tag119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9" Type="http://schemas.openxmlformats.org/officeDocument/2006/relationships/tags" Target="../tags/tag93.xml"/><Relationship Id="rId34" Type="http://schemas.openxmlformats.org/officeDocument/2006/relationships/tags" Target="../tags/tag88.xml"/><Relationship Id="rId50" Type="http://schemas.openxmlformats.org/officeDocument/2006/relationships/tags" Target="../tags/tag104.xml"/><Relationship Id="rId55" Type="http://schemas.openxmlformats.org/officeDocument/2006/relationships/tags" Target="../tags/tag10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6C2C3FE-894E-485B-8E77-DFA7C8BA1E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73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Diapositiva de think-cell" r:id="rId40" imgW="378" imgH="379" progId="TCLayout.ActiveDocument.1">
                  <p:embed/>
                </p:oleObj>
              </mc:Choice>
              <mc:Fallback>
                <p:oleObj name="Diapositiva de think-cell" r:id="rId40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6" name="Chart 3">
            <a:extLst>
              <a:ext uri="{FF2B5EF4-FFF2-40B4-BE49-F238E27FC236}">
                <a16:creationId xmlns:a16="http://schemas.microsoft.com/office/drawing/2014/main" id="{55F97990-FBC3-4F63-8A84-63B18F05898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9508998"/>
              </p:ext>
            </p:extLst>
          </p:nvPr>
        </p:nvGraphicFramePr>
        <p:xfrm>
          <a:off x="835025" y="630238"/>
          <a:ext cx="2800350" cy="280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21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038350" y="736600"/>
            <a:ext cx="268288" cy="1920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C8C6A0-D52D-409C-9DB5-2F086E1AA1C0}" type="datetime'''''''''''''''''''''''''''''''''''''''''''''''2''%'''">
              <a:rPr lang="es-A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s-AR" sz="14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60568E32-B5E4-4122-997C-7599A6D4232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735388" y="1274763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A5BD14D1-BD10-4675-A685-84439BD6163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735388" y="1031875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8AD53E96-F9C5-471A-A11F-8A5A7914224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735388" y="7889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24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37013" y="784225"/>
            <a:ext cx="15748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A4F6804-88F0-452B-AC6E-E87004855DCC}" type="datetime'U''nive''''rsid''''a''d ''''co''m''pl''''eta'''''">
              <a:rPr lang="es-A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niversidad completa</a:t>
            </a:fld>
            <a:endParaRPr lang="es-AR" sz="1400" dirty="0"/>
          </a:p>
        </p:txBody>
      </p:sp>
      <p:sp>
        <p:nvSpPr>
          <p:cNvPr id="27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037013" y="1270000"/>
            <a:ext cx="16494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A590E7-765A-401C-9160-0BF7380E3FF3}" type="datetime'S''e''''cun''''da''''r''''ia ''i''''nco''m''''pl''et''''a'''">
              <a:rPr lang="es-A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cundaria incompleta</a:t>
            </a:fld>
            <a:endParaRPr lang="es-AR" sz="1400" dirty="0"/>
          </a:p>
        </p:txBody>
      </p:sp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037013" y="1027113"/>
            <a:ext cx="17097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F9461A-0645-4157-9F6B-3569FBF1E783}" type="datetime'U''''''n''''i''v''er''s''idad'' i''''''''''nco''''mp''''leta'">
              <a:rPr lang="es-A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niversidad incompleta</a:t>
            </a:fld>
            <a:endParaRPr lang="es-AR" sz="1400" dirty="0"/>
          </a:p>
        </p:txBody>
      </p:sp>
      <p:graphicFrame>
        <p:nvGraphicFramePr>
          <p:cNvPr id="197" name="Chart 3">
            <a:extLst>
              <a:ext uri="{FF2B5EF4-FFF2-40B4-BE49-F238E27FC236}">
                <a16:creationId xmlns:a16="http://schemas.microsoft.com/office/drawing/2014/main" id="{696832BD-2151-452B-8621-BF842ED27752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82253719"/>
              </p:ext>
            </p:extLst>
          </p:nvPr>
        </p:nvGraphicFramePr>
        <p:xfrm>
          <a:off x="6645275" y="630238"/>
          <a:ext cx="2819400" cy="280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56" name="Rectángulo 55">
            <a:extLst>
              <a:ext uri="{FF2B5EF4-FFF2-40B4-BE49-F238E27FC236}">
                <a16:creationId xmlns:a16="http://schemas.microsoft.com/office/drawing/2014/main" id="{BC584594-017D-46F0-AC51-B92955D6F92E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9564688" y="7889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19355D08-EBDD-47A9-A4C0-5D2E786C0E7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9564688" y="1274763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CFE0709A-4435-42E1-9AED-28B623BE38E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9564688" y="1031875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9" name="Marcador de texto 2">
            <a:extLst>
              <a:ext uri="{FF2B5EF4-FFF2-40B4-BE49-F238E27FC236}">
                <a16:creationId xmlns:a16="http://schemas.microsoft.com/office/drawing/2014/main" id="{0F530EFB-BAD4-4950-8430-8855D185796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866313" y="784225"/>
            <a:ext cx="414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34A2D6-7509-4BCC-B9D2-3FAC25ACDD2F}" type="datetime'''''''''''''''B''i''''d''e''''''''''''''''''''''''n'''''''">
              <a:rPr lang="es-AR" altLang="en-US" sz="1400" smtClean="0"/>
              <a:pPr/>
              <a:t>Biden</a:t>
            </a:fld>
            <a:endParaRPr lang="es-AR" sz="1400" dirty="0"/>
          </a:p>
        </p:txBody>
      </p:sp>
      <p:sp>
        <p:nvSpPr>
          <p:cNvPr id="60" name="Marcador de texto 2">
            <a:extLst>
              <a:ext uri="{FF2B5EF4-FFF2-40B4-BE49-F238E27FC236}">
                <a16:creationId xmlns:a16="http://schemas.microsoft.com/office/drawing/2014/main" id="{2F8647B5-7C6E-4EDC-8138-0CFC73F1664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866314" y="1027113"/>
            <a:ext cx="466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B985C8-1329-4B77-B510-508C2A8225C1}" type="datetime'''''''T''''''''r''''''''''''''''''''''''''u''''m''''p'''''''">
              <a:rPr lang="es-AR" altLang="en-US" sz="1400" smtClean="0"/>
              <a:pPr/>
              <a:t>Trump</a:t>
            </a:fld>
            <a:endParaRPr lang="es-AR" sz="1400" dirty="0"/>
          </a:p>
        </p:txBody>
      </p:sp>
      <p:sp>
        <p:nvSpPr>
          <p:cNvPr id="61" name="Marcador de texto 2">
            <a:extLst>
              <a:ext uri="{FF2B5EF4-FFF2-40B4-BE49-F238E27FC236}">
                <a16:creationId xmlns:a16="http://schemas.microsoft.com/office/drawing/2014/main" id="{EC17F831-DC53-4CF0-9C62-D47E24C0406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866313" y="1270000"/>
            <a:ext cx="3905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3416683-DB84-4CE6-87C0-1DDEB934A06D}" type="datetime'N''''''o''''''n''''''''''''''''''e'''''''">
              <a:rPr lang="es-AR" altLang="en-US" sz="1400" smtClean="0"/>
              <a:pPr/>
              <a:t>None</a:t>
            </a:fld>
            <a:endParaRPr lang="es-AR" sz="1400" dirty="0"/>
          </a:p>
        </p:txBody>
      </p:sp>
      <p:graphicFrame>
        <p:nvGraphicFramePr>
          <p:cNvPr id="199" name="Chart 3">
            <a:extLst>
              <a:ext uri="{FF2B5EF4-FFF2-40B4-BE49-F238E27FC236}">
                <a16:creationId xmlns:a16="http://schemas.microsoft.com/office/drawing/2014/main" id="{6F74D33F-13F9-42C7-951A-7FDF5C91C2DF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18863822"/>
              </p:ext>
            </p:extLst>
          </p:nvPr>
        </p:nvGraphicFramePr>
        <p:xfrm>
          <a:off x="835025" y="3948113"/>
          <a:ext cx="2800350" cy="280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09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035175" y="4300538"/>
            <a:ext cx="268288" cy="1920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DADA34-130A-402E-87A8-0F77D8018CFC}" type="datetime'''''''''''''''''''''''''''''''''''2''''''''''''%'">
              <a:rPr lang="es-A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s-AR" sz="1400" dirty="0">
              <a:solidFill>
                <a:schemeClr val="bg1"/>
              </a:solidFill>
            </a:endParaRPr>
          </a:p>
        </p:txBody>
      </p:sp>
      <p:sp>
        <p:nvSpPr>
          <p:cNvPr id="83" name="Rectángulo 82">
            <a:extLst>
              <a:ext uri="{FF2B5EF4-FFF2-40B4-BE49-F238E27FC236}">
                <a16:creationId xmlns:a16="http://schemas.microsoft.com/office/drawing/2014/main" id="{890B1226-9C34-4913-81AC-0F22EB1FE7BE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735388" y="410686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03750166-C2B7-4EC9-BFD7-83FED56717C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735388" y="459263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85" name="Rectángulo 84">
            <a:extLst>
              <a:ext uri="{FF2B5EF4-FFF2-40B4-BE49-F238E27FC236}">
                <a16:creationId xmlns:a16="http://schemas.microsoft.com/office/drawing/2014/main" id="{0F9343DE-97AC-4FAE-9A63-2BF76FA1AB12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735388" y="43497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06" name="Rectángulo 105">
            <a:extLst>
              <a:ext uri="{FF2B5EF4-FFF2-40B4-BE49-F238E27FC236}">
                <a16:creationId xmlns:a16="http://schemas.microsoft.com/office/drawing/2014/main" id="{F40DD239-A219-4E04-92F7-B8FA09281BB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735388" y="4835525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11" name="Rectángulo 110">
            <a:extLst>
              <a:ext uri="{FF2B5EF4-FFF2-40B4-BE49-F238E27FC236}">
                <a16:creationId xmlns:a16="http://schemas.microsoft.com/office/drawing/2014/main" id="{ED5DF2F8-E6B0-43EA-8926-ADEF0D63C25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735388" y="5078413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86" name="Marcador de texto 2">
            <a:extLst>
              <a:ext uri="{FF2B5EF4-FFF2-40B4-BE49-F238E27FC236}">
                <a16:creationId xmlns:a16="http://schemas.microsoft.com/office/drawing/2014/main" id="{0886E1BF-2405-408D-88B6-9A5751D4F8E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037014" y="4102100"/>
            <a:ext cx="4413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E388B7-3897-4C66-9DDD-C995D8C65962}" type="datetime'''''''''''''''''Wh''''''''i''''''''''''''''t''''''''''''e'">
              <a:rPr lang="es-AR" altLang="en-US" sz="1400" smtClean="0"/>
              <a:pPr/>
              <a:t>White</a:t>
            </a:fld>
            <a:endParaRPr lang="es-AR" sz="1400" dirty="0"/>
          </a:p>
        </p:txBody>
      </p:sp>
      <p:sp>
        <p:nvSpPr>
          <p:cNvPr id="107" name="Marcador de texto 2">
            <a:extLst>
              <a:ext uri="{FF2B5EF4-FFF2-40B4-BE49-F238E27FC236}">
                <a16:creationId xmlns:a16="http://schemas.microsoft.com/office/drawing/2014/main" id="{3F62A523-51E9-4DE2-B7A1-8D55491F68E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037013" y="5073650"/>
            <a:ext cx="4222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32DFDB-7B01-482C-A242-5E02FB12C5B0}" type="datetime'''''''''''''Ot''''''h''''''''''''''''e''''r'''''''''">
              <a:rPr lang="es-AR" altLang="en-US" sz="1400" smtClean="0"/>
              <a:pPr/>
              <a:t>Other</a:t>
            </a:fld>
            <a:endParaRPr lang="es-AR" sz="1400" dirty="0"/>
          </a:p>
        </p:txBody>
      </p:sp>
      <p:sp>
        <p:nvSpPr>
          <p:cNvPr id="88" name="Marcador de texto 2">
            <a:extLst>
              <a:ext uri="{FF2B5EF4-FFF2-40B4-BE49-F238E27FC236}">
                <a16:creationId xmlns:a16="http://schemas.microsoft.com/office/drawing/2014/main" id="{DC2EB9D6-572A-4508-B11D-AD584EE9E41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037013" y="4587875"/>
            <a:ext cx="3937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F90534-65EE-4297-9001-EDCA6A645CF6}" type="datetime'''''''''''''''''''''''''''''''A''''''''''''si''a''''''n'''''''">
              <a:rPr lang="es-AR" altLang="en-US" sz="1400" smtClean="0"/>
              <a:pPr/>
              <a:t>Asian</a:t>
            </a:fld>
            <a:endParaRPr lang="es-AR" sz="1400" dirty="0"/>
          </a:p>
        </p:txBody>
      </p:sp>
      <p:sp>
        <p:nvSpPr>
          <p:cNvPr id="87" name="Marcador de texto 2">
            <a:extLst>
              <a:ext uri="{FF2B5EF4-FFF2-40B4-BE49-F238E27FC236}">
                <a16:creationId xmlns:a16="http://schemas.microsoft.com/office/drawing/2014/main" id="{1BD17658-7686-4130-8DF4-401FEE331ED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037014" y="4344988"/>
            <a:ext cx="3794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A1D8E8-2842-40A5-9DCE-FA814A42A6FB}" type="datetime'''''''''''''B''l''''a''''''''''c''''k'''''''''''''''''''">
              <a:rPr lang="es-AR" altLang="en-US" sz="1400" smtClean="0"/>
              <a:pPr/>
              <a:t>Black</a:t>
            </a:fld>
            <a:endParaRPr lang="es-AR" sz="1400" dirty="0"/>
          </a:p>
        </p:txBody>
      </p:sp>
      <p:sp>
        <p:nvSpPr>
          <p:cNvPr id="103" name="Marcador de texto 2">
            <a:extLst>
              <a:ext uri="{FF2B5EF4-FFF2-40B4-BE49-F238E27FC236}">
                <a16:creationId xmlns:a16="http://schemas.microsoft.com/office/drawing/2014/main" id="{258D0A71-4A7A-4FF6-8C1D-32D7609B566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037013" y="4830763"/>
            <a:ext cx="6111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3B60B9-3032-475B-9A6B-1F92044B4A77}" type="datetime'Hi''s''p''''''a''''''''''''''''''''''n''''''''i''''''''''c'''">
              <a:rPr lang="es-AR" altLang="en-US" sz="1400" smtClean="0"/>
              <a:pPr/>
              <a:t>Hispanic</a:t>
            </a:fld>
            <a:endParaRPr lang="es-AR" sz="1400" dirty="0"/>
          </a:p>
        </p:txBody>
      </p:sp>
      <p:graphicFrame>
        <p:nvGraphicFramePr>
          <p:cNvPr id="200" name="Chart 3">
            <a:extLst>
              <a:ext uri="{FF2B5EF4-FFF2-40B4-BE49-F238E27FC236}">
                <a16:creationId xmlns:a16="http://schemas.microsoft.com/office/drawing/2014/main" id="{43E49C97-0FB1-4252-90B1-6AC3AD626A4B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5174695"/>
              </p:ext>
            </p:extLst>
          </p:nvPr>
        </p:nvGraphicFramePr>
        <p:xfrm>
          <a:off x="6640513" y="3948113"/>
          <a:ext cx="2847975" cy="280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14" name="Rectángulo 113">
            <a:extLst>
              <a:ext uri="{FF2B5EF4-FFF2-40B4-BE49-F238E27FC236}">
                <a16:creationId xmlns:a16="http://schemas.microsoft.com/office/drawing/2014/main" id="{DF72ED46-9238-452A-A6D3-7F77B9101786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564688" y="410686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17" name="Rectángulo 116">
            <a:extLst>
              <a:ext uri="{FF2B5EF4-FFF2-40B4-BE49-F238E27FC236}">
                <a16:creationId xmlns:a16="http://schemas.microsoft.com/office/drawing/2014/main" id="{672EDDD3-6417-4C69-BAB1-2B4214589EA6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9564688" y="434975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20" name="Marcador de texto 2">
            <a:extLst>
              <a:ext uri="{FF2B5EF4-FFF2-40B4-BE49-F238E27FC236}">
                <a16:creationId xmlns:a16="http://schemas.microsoft.com/office/drawing/2014/main" id="{721A971F-5BCA-41E1-B7F5-C7DAF0D9417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866313" y="4102100"/>
            <a:ext cx="5889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9BF625-D526-41C7-B7F1-F2489A0BB09C}" type="datetime'''''H''''''''''''''''''''om''''b''''re'''''''''''''''">
              <a:rPr lang="es-AR" altLang="en-US" sz="1400" smtClean="0"/>
              <a:pPr/>
              <a:t>Hombre</a:t>
            </a:fld>
            <a:endParaRPr lang="es-AR" sz="1400" dirty="0"/>
          </a:p>
        </p:txBody>
      </p:sp>
      <p:sp>
        <p:nvSpPr>
          <p:cNvPr id="119" name="Marcador de texto 2">
            <a:extLst>
              <a:ext uri="{FF2B5EF4-FFF2-40B4-BE49-F238E27FC236}">
                <a16:creationId xmlns:a16="http://schemas.microsoft.com/office/drawing/2014/main" id="{DEFE5C3D-BE2C-4536-A02F-65ABD0DAC00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866313" y="4344988"/>
            <a:ext cx="4397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6B98D9-BD9A-4A5A-926F-E8D2D3A98E0E}" type="datetime'''''M''''u''''''''''''''j''''''''''''''''''''er'''''">
              <a:rPr lang="es-AR" altLang="en-US" sz="1400" smtClean="0"/>
              <a:pPr/>
              <a:t>Mujer</a:t>
            </a:fld>
            <a:endParaRPr lang="es-AR" sz="1400" dirty="0"/>
          </a:p>
        </p:txBody>
      </p:sp>
      <p:sp>
        <p:nvSpPr>
          <p:cNvPr id="149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322388" y="244475"/>
            <a:ext cx="1800225" cy="357188"/>
          </a:xfrm>
          <a:prstGeom prst="roundRect">
            <a:avLst>
              <a:gd name="adj" fmla="val 49778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30163" rIns="0" bIns="301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Nivel de educación</a:t>
            </a:r>
          </a:p>
        </p:txBody>
      </p:sp>
      <p:sp>
        <p:nvSpPr>
          <p:cNvPr id="152" name="Marcador de texto 2">
            <a:extLst>
              <a:ext uri="{FF2B5EF4-FFF2-40B4-BE49-F238E27FC236}">
                <a16:creationId xmlns:a16="http://schemas.microsoft.com/office/drawing/2014/main" id="{DC784C7A-7F45-4CC8-881D-421C40C5CAA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142163" y="244475"/>
            <a:ext cx="1800225" cy="357188"/>
          </a:xfrm>
          <a:prstGeom prst="roundRect">
            <a:avLst>
              <a:gd name="adj" fmla="val 49778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30163" rIns="0" bIns="301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Candidato votado</a:t>
            </a:r>
          </a:p>
        </p:txBody>
      </p:sp>
      <p:sp>
        <p:nvSpPr>
          <p:cNvPr id="173" name="Rectángulo 172" hidden="1">
            <a:extLst>
              <a:ext uri="{FF2B5EF4-FFF2-40B4-BE49-F238E27FC236}">
                <a16:creationId xmlns:a16="http://schemas.microsoft.com/office/drawing/2014/main" id="{B666C00A-F549-40B4-8DD3-58CED6B15C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183" name="Rectángulo 182" hidden="1">
            <a:extLst>
              <a:ext uri="{FF2B5EF4-FFF2-40B4-BE49-F238E27FC236}">
                <a16:creationId xmlns:a16="http://schemas.microsoft.com/office/drawing/2014/main" id="{D8632F9D-6097-43E9-B21D-F898F3E8555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01" name="Marcador de texto 2">
            <a:extLst>
              <a:ext uri="{FF2B5EF4-FFF2-40B4-BE49-F238E27FC236}">
                <a16:creationId xmlns:a16="http://schemas.microsoft.com/office/drawing/2014/main" id="{BFD39B88-61B9-4282-AACD-628A53BECB6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322388" y="3571875"/>
            <a:ext cx="1800225" cy="357188"/>
          </a:xfrm>
          <a:prstGeom prst="roundRect">
            <a:avLst>
              <a:gd name="adj" fmla="val 49778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30163" rIns="0" bIns="301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Grupo étnico</a:t>
            </a:r>
          </a:p>
        </p:txBody>
      </p:sp>
      <p:sp>
        <p:nvSpPr>
          <p:cNvPr id="203" name="Marcador de texto 2">
            <a:extLst>
              <a:ext uri="{FF2B5EF4-FFF2-40B4-BE49-F238E27FC236}">
                <a16:creationId xmlns:a16="http://schemas.microsoft.com/office/drawing/2014/main" id="{DEF33574-19A5-4BC1-ABF0-CD0159C493B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142163" y="3571875"/>
            <a:ext cx="1800225" cy="357188"/>
          </a:xfrm>
          <a:prstGeom prst="roundRect">
            <a:avLst>
              <a:gd name="adj" fmla="val 49778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30163" rIns="0" bIns="301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Género</a:t>
            </a:r>
          </a:p>
        </p:txBody>
      </p:sp>
    </p:spTree>
    <p:extLst>
      <p:ext uri="{BB962C8B-B14F-4D97-AF65-F5344CB8AC3E}">
        <p14:creationId xmlns:p14="http://schemas.microsoft.com/office/powerpoint/2010/main" val="1609796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6C2C3FE-894E-485B-8E77-DFA7C8BA1E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58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Diapositiva de think-cell" r:id="rId19" imgW="378" imgH="379" progId="TCLayout.ActiveDocument.1">
                  <p:embed/>
                </p:oleObj>
              </mc:Choice>
              <mc:Fallback>
                <p:oleObj name="Diapositiva de think-cell" r:id="rId19" imgW="378" imgH="379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86C2C3FE-894E-485B-8E77-DFA7C8BA1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3" name="Rectángulo 172" hidden="1">
            <a:extLst>
              <a:ext uri="{FF2B5EF4-FFF2-40B4-BE49-F238E27FC236}">
                <a16:creationId xmlns:a16="http://schemas.microsoft.com/office/drawing/2014/main" id="{B666C00A-F549-40B4-8DD3-58CED6B15C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183" name="Rectángulo 182" hidden="1">
            <a:extLst>
              <a:ext uri="{FF2B5EF4-FFF2-40B4-BE49-F238E27FC236}">
                <a16:creationId xmlns:a16="http://schemas.microsoft.com/office/drawing/2014/main" id="{D8632F9D-6097-43E9-B21D-F898F3E8555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cxnSp>
        <p:nvCxnSpPr>
          <p:cNvPr id="275" name="Conector recto 274">
            <a:extLst>
              <a:ext uri="{FF2B5EF4-FFF2-40B4-BE49-F238E27FC236}">
                <a16:creationId xmlns:a16="http://schemas.microsoft.com/office/drawing/2014/main" id="{C6F8ED72-311B-49F4-9F97-66062ACCE38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660900" y="2627313"/>
            <a:ext cx="28575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" name="Conector recto 275">
            <a:extLst>
              <a:ext uri="{FF2B5EF4-FFF2-40B4-BE49-F238E27FC236}">
                <a16:creationId xmlns:a16="http://schemas.microsoft.com/office/drawing/2014/main" id="{F7C2F273-91B7-4CA4-9EEA-359B2499198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660900" y="1198563"/>
            <a:ext cx="28575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B280BD3-C044-4A45-8A95-B9780812C0F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089650" y="2627313"/>
            <a:ext cx="1428750" cy="1428750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CC0C71F7-B4FF-4379-A879-D74C9F605D7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089650" y="1198563"/>
            <a:ext cx="1428750" cy="1428750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68FB7708-8D4C-4AAD-BEA8-0099B860A77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660900" y="2627313"/>
            <a:ext cx="1428750" cy="1428750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2588FCA-5314-43EA-9547-109C96C9247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660900" y="1198563"/>
            <a:ext cx="1428750" cy="1428750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26C9B261-5520-44FC-94DF-836B424A713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659313" y="4056063"/>
            <a:ext cx="2860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A8C17D0F-073C-4AE5-8D70-9CF95715434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4660900" y="1193800"/>
            <a:ext cx="0" cy="28670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7" name="Marcador de texto 2">
            <a:extLst>
              <a:ext uri="{FF2B5EF4-FFF2-40B4-BE49-F238E27FC236}">
                <a16:creationId xmlns:a16="http://schemas.microsoft.com/office/drawing/2014/main" id="{BFACC194-560F-4E03-8650-0F7810A8CF2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97450" y="3149600"/>
            <a:ext cx="7572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OUS = 2,3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377)</a:t>
            </a:r>
          </a:p>
        </p:txBody>
      </p:sp>
      <p:sp>
        <p:nvSpPr>
          <p:cNvPr id="258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156200" y="4449763"/>
            <a:ext cx="18669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Impartial Beneficence (IB)</a:t>
            </a:r>
            <a:endParaRPr lang="es-AR" sz="1400" dirty="0"/>
          </a:p>
        </p:txBody>
      </p:sp>
      <p:sp>
        <p:nvSpPr>
          <p:cNvPr id="64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997450" y="1720850"/>
            <a:ext cx="7572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OUS = 3,4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223)</a:t>
            </a:r>
          </a:p>
        </p:txBody>
      </p:sp>
      <p:sp>
        <p:nvSpPr>
          <p:cNvPr id="314" name="Marcador de texto 2">
            <a:extLst>
              <a:ext uri="{FF2B5EF4-FFF2-40B4-BE49-F238E27FC236}">
                <a16:creationId xmlns:a16="http://schemas.microsoft.com/office/drawing/2014/main" id="{79235A43-D567-43A9-93EC-66F5CF5D8EC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227638" y="4114800"/>
            <a:ext cx="2952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Low</a:t>
            </a:r>
            <a:endParaRPr lang="es-AR" sz="1400" dirty="0"/>
          </a:p>
        </p:txBody>
      </p:sp>
      <p:sp>
        <p:nvSpPr>
          <p:cNvPr id="69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426200" y="1720850"/>
            <a:ext cx="7572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OUS = 4,6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452)</a:t>
            </a:r>
          </a:p>
        </p:txBody>
      </p:sp>
      <p:sp>
        <p:nvSpPr>
          <p:cNvPr id="70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426200" y="3149600"/>
            <a:ext cx="7572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OUS = 3,5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248)</a:t>
            </a:r>
          </a:p>
        </p:txBody>
      </p:sp>
      <p:sp>
        <p:nvSpPr>
          <p:cNvPr id="312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638925" y="4114800"/>
            <a:ext cx="330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High</a:t>
            </a:r>
            <a:endParaRPr lang="es-AR" sz="1400" dirty="0"/>
          </a:p>
        </p:txBody>
      </p:sp>
      <p:sp>
        <p:nvSpPr>
          <p:cNvPr id="146" name="Rectángulo 145" hidden="1">
            <a:extLst>
              <a:ext uri="{FF2B5EF4-FFF2-40B4-BE49-F238E27FC236}">
                <a16:creationId xmlns:a16="http://schemas.microsoft.com/office/drawing/2014/main" id="{E18922AD-951D-4BBF-B175-7347F19FABB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195" name="Rectángulo 194" hidden="1">
            <a:extLst>
              <a:ext uri="{FF2B5EF4-FFF2-40B4-BE49-F238E27FC236}">
                <a16:creationId xmlns:a16="http://schemas.microsoft.com/office/drawing/2014/main" id="{CDD7C4AA-92F7-41FF-BB7F-E5A0525CFA6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22" name="Rectángulo 221" hidden="1">
            <a:extLst>
              <a:ext uri="{FF2B5EF4-FFF2-40B4-BE49-F238E27FC236}">
                <a16:creationId xmlns:a16="http://schemas.microsoft.com/office/drawing/2014/main" id="{EE606A90-6A1F-4F67-A992-CCCBFD2C704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>
              <a:latin typeface="Calibri" panose="020F0502020204030204" pitchFamily="34" charset="0"/>
            </a:endParaRPr>
          </a:p>
        </p:txBody>
      </p:sp>
      <p:sp>
        <p:nvSpPr>
          <p:cNvPr id="248" name="Rectángulo 247" hidden="1">
            <a:extLst>
              <a:ext uri="{FF2B5EF4-FFF2-40B4-BE49-F238E27FC236}">
                <a16:creationId xmlns:a16="http://schemas.microsoft.com/office/drawing/2014/main" id="{77B4C705-53F9-40BE-954B-5917F4D2911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50" name="Rectángulo 249" hidden="1">
            <a:extLst>
              <a:ext uri="{FF2B5EF4-FFF2-40B4-BE49-F238E27FC236}">
                <a16:creationId xmlns:a16="http://schemas.microsoft.com/office/drawing/2014/main" id="{E6957CAE-7CEE-43E6-A431-E9D995C4B5A0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51" name="Rectángulo 250" hidden="1">
            <a:extLst>
              <a:ext uri="{FF2B5EF4-FFF2-40B4-BE49-F238E27FC236}">
                <a16:creationId xmlns:a16="http://schemas.microsoft.com/office/drawing/2014/main" id="{07AD0D08-80C1-4EF5-B8E9-68FE84A4011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>
              <a:latin typeface="Calibri" panose="020F0502020204030204" pitchFamily="34" charset="0"/>
            </a:endParaRPr>
          </a:p>
        </p:txBody>
      </p:sp>
      <p:sp>
        <p:nvSpPr>
          <p:cNvPr id="263" name="Rectángulo 262" hidden="1">
            <a:extLst>
              <a:ext uri="{FF2B5EF4-FFF2-40B4-BE49-F238E27FC236}">
                <a16:creationId xmlns:a16="http://schemas.microsoft.com/office/drawing/2014/main" id="{C7C7D322-B2A6-47EB-AB9E-E63B96610BF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77" name="Rectángulo 276" hidden="1">
            <a:extLst>
              <a:ext uri="{FF2B5EF4-FFF2-40B4-BE49-F238E27FC236}">
                <a16:creationId xmlns:a16="http://schemas.microsoft.com/office/drawing/2014/main" id="{4483DB98-2BA9-4BDD-97E8-D82FCA1C589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79" name="Rectángulo 278" hidden="1">
            <a:extLst>
              <a:ext uri="{FF2B5EF4-FFF2-40B4-BE49-F238E27FC236}">
                <a16:creationId xmlns:a16="http://schemas.microsoft.com/office/drawing/2014/main" id="{D5019188-4269-40D4-B386-B600BB0EA52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pic>
        <p:nvPicPr>
          <p:cNvPr id="295" name="Imagen 294">
            <a:extLst>
              <a:ext uri="{FF2B5EF4-FFF2-40B4-BE49-F238E27FC236}">
                <a16:creationId xmlns:a16="http://schemas.microsoft.com/office/drawing/2014/main" id="{C38B8B95-0570-46C7-849E-F9F68D55678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360275" y="1720850"/>
            <a:ext cx="231520" cy="479007"/>
          </a:xfrm>
          <a:prstGeom prst="rect">
            <a:avLst/>
          </a:prstGeom>
        </p:spPr>
      </p:pic>
      <p:pic>
        <p:nvPicPr>
          <p:cNvPr id="297" name="Imagen 296">
            <a:extLst>
              <a:ext uri="{FF2B5EF4-FFF2-40B4-BE49-F238E27FC236}">
                <a16:creationId xmlns:a16="http://schemas.microsoft.com/office/drawing/2014/main" id="{D75DA7E2-08C9-4E18-8144-2B8644DDC3FC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324350" y="3134603"/>
            <a:ext cx="303371" cy="399172"/>
          </a:xfrm>
          <a:prstGeom prst="rect">
            <a:avLst/>
          </a:prstGeom>
        </p:spPr>
      </p:pic>
      <p:pic>
        <p:nvPicPr>
          <p:cNvPr id="299" name="Imagen 298">
            <a:extLst>
              <a:ext uri="{FF2B5EF4-FFF2-40B4-BE49-F238E27FC236}">
                <a16:creationId xmlns:a16="http://schemas.microsoft.com/office/drawing/2014/main" id="{A17CC806-2501-4385-833F-B72D7ACF0BE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954005" y="1685264"/>
            <a:ext cx="247487" cy="1884095"/>
          </a:xfrm>
          <a:prstGeom prst="rect">
            <a:avLst/>
          </a:prstGeom>
        </p:spPr>
      </p:pic>
      <p:sp>
        <p:nvSpPr>
          <p:cNvPr id="308" name="Rectángulo 307" hidden="1">
            <a:extLst>
              <a:ext uri="{FF2B5EF4-FFF2-40B4-BE49-F238E27FC236}">
                <a16:creationId xmlns:a16="http://schemas.microsoft.com/office/drawing/2014/main" id="{6103DCEC-0267-4FF1-9F7D-44D7595BF5E9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>
              <a:latin typeface="Calibri" panose="020F0502020204030204" pitchFamily="34" charset="0"/>
            </a:endParaRPr>
          </a:p>
        </p:txBody>
      </p:sp>
      <p:sp>
        <p:nvSpPr>
          <p:cNvPr id="318" name="Rectángulo 317" hidden="1">
            <a:extLst>
              <a:ext uri="{FF2B5EF4-FFF2-40B4-BE49-F238E27FC236}">
                <a16:creationId xmlns:a16="http://schemas.microsoft.com/office/drawing/2014/main" id="{DA0000CE-F12E-4391-8BB3-CBDBCEFCD7F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343" name="Rectángulo 342" hidden="1">
            <a:extLst>
              <a:ext uri="{FF2B5EF4-FFF2-40B4-BE49-F238E27FC236}">
                <a16:creationId xmlns:a16="http://schemas.microsoft.com/office/drawing/2014/main" id="{92509AE4-FA8F-4DFF-BF1A-3EAB1C6915D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</p:spTree>
    <p:extLst>
      <p:ext uri="{BB962C8B-B14F-4D97-AF65-F5344CB8AC3E}">
        <p14:creationId xmlns:p14="http://schemas.microsoft.com/office/powerpoint/2010/main" val="976622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6C2C3FE-894E-485B-8E77-DFA7C8BA1E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017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Diapositiva de think-cell" r:id="rId68" imgW="378" imgH="379" progId="TCLayout.ActiveDocument.1">
                  <p:embed/>
                </p:oleObj>
              </mc:Choice>
              <mc:Fallback>
                <p:oleObj name="Diapositiva de think-cell" r:id="rId68" imgW="378" imgH="379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86C2C3FE-894E-485B-8E77-DFA7C8BA1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3" name="Rectángulo 172" hidden="1">
            <a:extLst>
              <a:ext uri="{FF2B5EF4-FFF2-40B4-BE49-F238E27FC236}">
                <a16:creationId xmlns:a16="http://schemas.microsoft.com/office/drawing/2014/main" id="{B666C00A-F549-40B4-8DD3-58CED6B15C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183" name="Rectángulo 182" hidden="1">
            <a:extLst>
              <a:ext uri="{FF2B5EF4-FFF2-40B4-BE49-F238E27FC236}">
                <a16:creationId xmlns:a16="http://schemas.microsoft.com/office/drawing/2014/main" id="{D8632F9D-6097-43E9-B21D-F898F3E8555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cxnSp>
        <p:nvCxnSpPr>
          <p:cNvPr id="275" name="Conector recto 274">
            <a:extLst>
              <a:ext uri="{FF2B5EF4-FFF2-40B4-BE49-F238E27FC236}">
                <a16:creationId xmlns:a16="http://schemas.microsoft.com/office/drawing/2014/main" id="{C6F8ED72-311B-49F4-9F97-66062ACCE38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892300" y="1781175"/>
            <a:ext cx="1879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" name="Conector recto 275">
            <a:extLst>
              <a:ext uri="{FF2B5EF4-FFF2-40B4-BE49-F238E27FC236}">
                <a16:creationId xmlns:a16="http://schemas.microsoft.com/office/drawing/2014/main" id="{F7C2F273-91B7-4CA4-9EEA-359B2499198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892300" y="944563"/>
            <a:ext cx="1879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B280BD3-C044-4A45-8A95-B9780812C0F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832100" y="1781175"/>
            <a:ext cx="939800" cy="835025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CC0C71F7-B4FF-4379-A879-D74C9F605D7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832100" y="944563"/>
            <a:ext cx="939800" cy="836613"/>
          </a:xfrm>
          <a:prstGeom prst="rect">
            <a:avLst/>
          </a:prstGeom>
          <a:solidFill>
            <a:srgbClr val="C30C3E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68FB7708-8D4C-4AAD-BEA8-0099B860A77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892300" y="1781175"/>
            <a:ext cx="939800" cy="835025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2588FCA-5314-43EA-9547-109C96C9247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892300" y="944563"/>
            <a:ext cx="939800" cy="836613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26C9B261-5520-44FC-94DF-836B424A713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890713" y="2616200"/>
            <a:ext cx="1882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A8C17D0F-073C-4AE5-8D70-9CF95715434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1892300" y="939800"/>
            <a:ext cx="0" cy="1681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7" name="Marcador de texto 2">
            <a:extLst>
              <a:ext uri="{FF2B5EF4-FFF2-40B4-BE49-F238E27FC236}">
                <a16:creationId xmlns:a16="http://schemas.microsoft.com/office/drawing/2014/main" id="{BFACC194-560F-4E03-8650-0F7810A8CF2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016125" y="2006600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66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332)</a:t>
            </a:r>
          </a:p>
        </p:txBody>
      </p:sp>
      <p:sp>
        <p:nvSpPr>
          <p:cNvPr id="258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898650" y="3009900"/>
            <a:ext cx="18669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Impartial Beneficence (IB)</a:t>
            </a:r>
            <a:endParaRPr lang="es-AR" sz="1400" dirty="0"/>
          </a:p>
        </p:txBody>
      </p:sp>
      <p:sp>
        <p:nvSpPr>
          <p:cNvPr id="64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016125" y="1169988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59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191)</a:t>
            </a:r>
          </a:p>
        </p:txBody>
      </p:sp>
      <p:sp>
        <p:nvSpPr>
          <p:cNvPr id="314" name="Marcador de texto 2">
            <a:extLst>
              <a:ext uri="{FF2B5EF4-FFF2-40B4-BE49-F238E27FC236}">
                <a16:creationId xmlns:a16="http://schemas.microsoft.com/office/drawing/2014/main" id="{79235A43-D567-43A9-93EC-66F5CF5D8EC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214563" y="2674938"/>
            <a:ext cx="2952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Low</a:t>
            </a:r>
            <a:endParaRPr lang="es-AR" sz="1400" dirty="0"/>
          </a:p>
        </p:txBody>
      </p:sp>
      <p:sp>
        <p:nvSpPr>
          <p:cNvPr id="69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55925" y="1169988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>
                <a:solidFill>
                  <a:schemeClr val="bg1"/>
                </a:solidFill>
              </a:rPr>
              <a:t>64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(n = 409)</a:t>
            </a:r>
          </a:p>
        </p:txBody>
      </p:sp>
      <p:sp>
        <p:nvSpPr>
          <p:cNvPr id="70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955924" y="2006600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>
                <a:solidFill>
                  <a:schemeClr val="bg1"/>
                </a:solidFill>
              </a:rPr>
              <a:t>77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(n = 223)</a:t>
            </a:r>
          </a:p>
        </p:txBody>
      </p:sp>
      <p:sp>
        <p:nvSpPr>
          <p:cNvPr id="312" name="Marcador de texto 2">
            <a:extLst>
              <a:ext uri="{FF2B5EF4-FFF2-40B4-BE49-F238E27FC236}">
                <a16:creationId xmlns:a16="http://schemas.microsoft.com/office/drawing/2014/main" id="{5AE47553-ECD1-45BF-A7E8-9AA5E01D2A0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136900" y="2674938"/>
            <a:ext cx="330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High</a:t>
            </a:r>
            <a:endParaRPr lang="es-AR" sz="1400" dirty="0"/>
          </a:p>
        </p:txBody>
      </p:sp>
      <p:sp>
        <p:nvSpPr>
          <p:cNvPr id="146" name="Rectángulo 145" hidden="1">
            <a:extLst>
              <a:ext uri="{FF2B5EF4-FFF2-40B4-BE49-F238E27FC236}">
                <a16:creationId xmlns:a16="http://schemas.microsoft.com/office/drawing/2014/main" id="{E18922AD-951D-4BBF-B175-7347F19FABB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195" name="Rectángulo 194" hidden="1">
            <a:extLst>
              <a:ext uri="{FF2B5EF4-FFF2-40B4-BE49-F238E27FC236}">
                <a16:creationId xmlns:a16="http://schemas.microsoft.com/office/drawing/2014/main" id="{CDD7C4AA-92F7-41FF-BB7F-E5A0525CFA6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22" name="Rectángulo 221" hidden="1">
            <a:extLst>
              <a:ext uri="{FF2B5EF4-FFF2-40B4-BE49-F238E27FC236}">
                <a16:creationId xmlns:a16="http://schemas.microsoft.com/office/drawing/2014/main" id="{EE606A90-6A1F-4F67-A992-CCCBFD2C704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>
              <a:latin typeface="Calibri" panose="020F0502020204030204" pitchFamily="34" charset="0"/>
            </a:endParaRPr>
          </a:p>
        </p:txBody>
      </p:sp>
      <p:sp>
        <p:nvSpPr>
          <p:cNvPr id="248" name="Rectángulo 247" hidden="1">
            <a:extLst>
              <a:ext uri="{FF2B5EF4-FFF2-40B4-BE49-F238E27FC236}">
                <a16:creationId xmlns:a16="http://schemas.microsoft.com/office/drawing/2014/main" id="{77B4C705-53F9-40BE-954B-5917F4D2911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50" name="Rectángulo 249" hidden="1">
            <a:extLst>
              <a:ext uri="{FF2B5EF4-FFF2-40B4-BE49-F238E27FC236}">
                <a16:creationId xmlns:a16="http://schemas.microsoft.com/office/drawing/2014/main" id="{E6957CAE-7CEE-43E6-A431-E9D995C4B5A0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51" name="Rectángulo 250" hidden="1">
            <a:extLst>
              <a:ext uri="{FF2B5EF4-FFF2-40B4-BE49-F238E27FC236}">
                <a16:creationId xmlns:a16="http://schemas.microsoft.com/office/drawing/2014/main" id="{07AD0D08-80C1-4EF5-B8E9-68FE84A4011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>
              <a:latin typeface="Calibri" panose="020F0502020204030204" pitchFamily="34" charset="0"/>
            </a:endParaRPr>
          </a:p>
        </p:txBody>
      </p:sp>
      <p:sp>
        <p:nvSpPr>
          <p:cNvPr id="263" name="Rectángulo 262" hidden="1">
            <a:extLst>
              <a:ext uri="{FF2B5EF4-FFF2-40B4-BE49-F238E27FC236}">
                <a16:creationId xmlns:a16="http://schemas.microsoft.com/office/drawing/2014/main" id="{C7C7D322-B2A6-47EB-AB9E-E63B96610BF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77" name="Rectángulo 276" hidden="1">
            <a:extLst>
              <a:ext uri="{FF2B5EF4-FFF2-40B4-BE49-F238E27FC236}">
                <a16:creationId xmlns:a16="http://schemas.microsoft.com/office/drawing/2014/main" id="{4483DB98-2BA9-4BDD-97E8-D82FCA1C589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279" name="Rectángulo 278" hidden="1">
            <a:extLst>
              <a:ext uri="{FF2B5EF4-FFF2-40B4-BE49-F238E27FC236}">
                <a16:creationId xmlns:a16="http://schemas.microsoft.com/office/drawing/2014/main" id="{D5019188-4269-40D4-B386-B600BB0EA52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pic>
        <p:nvPicPr>
          <p:cNvPr id="295" name="Imagen 294">
            <a:extLst>
              <a:ext uri="{FF2B5EF4-FFF2-40B4-BE49-F238E27FC236}">
                <a16:creationId xmlns:a16="http://schemas.microsoft.com/office/drawing/2014/main" id="{C38B8B95-0570-46C7-849E-F9F68D556786}"/>
              </a:ext>
            </a:extLst>
          </p:cNvPr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1620479" y="1131913"/>
            <a:ext cx="222489" cy="460323"/>
          </a:xfrm>
          <a:prstGeom prst="rect">
            <a:avLst/>
          </a:prstGeom>
        </p:spPr>
      </p:pic>
      <p:pic>
        <p:nvPicPr>
          <p:cNvPr id="297" name="Imagen 296">
            <a:extLst>
              <a:ext uri="{FF2B5EF4-FFF2-40B4-BE49-F238E27FC236}">
                <a16:creationId xmlns:a16="http://schemas.microsoft.com/office/drawing/2014/main" id="{D75DA7E2-08C9-4E18-8144-2B8644DDC3FC}"/>
              </a:ext>
            </a:extLst>
          </p:cNvPr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1552976" y="2008188"/>
            <a:ext cx="290766" cy="382587"/>
          </a:xfrm>
          <a:prstGeom prst="rect">
            <a:avLst/>
          </a:prstGeom>
        </p:spPr>
      </p:pic>
      <p:pic>
        <p:nvPicPr>
          <p:cNvPr id="299" name="Imagen 298">
            <a:extLst>
              <a:ext uri="{FF2B5EF4-FFF2-40B4-BE49-F238E27FC236}">
                <a16:creationId xmlns:a16="http://schemas.microsoft.com/office/drawing/2014/main" id="{A17CC806-2501-4385-833F-B72D7ACF0BEB}"/>
              </a:ext>
            </a:extLst>
          </p:cNvPr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1266184" y="985246"/>
            <a:ext cx="237460" cy="1807759"/>
          </a:xfrm>
          <a:prstGeom prst="rect">
            <a:avLst/>
          </a:prstGeom>
        </p:spPr>
      </p:pic>
      <p:sp>
        <p:nvSpPr>
          <p:cNvPr id="308" name="Rectángulo 307" hidden="1">
            <a:extLst>
              <a:ext uri="{FF2B5EF4-FFF2-40B4-BE49-F238E27FC236}">
                <a16:creationId xmlns:a16="http://schemas.microsoft.com/office/drawing/2014/main" id="{6103DCEC-0267-4FF1-9F7D-44D7595BF5E9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>
              <a:latin typeface="Calibri" panose="020F0502020204030204" pitchFamily="34" charset="0"/>
            </a:endParaRPr>
          </a:p>
        </p:txBody>
      </p:sp>
      <p:sp>
        <p:nvSpPr>
          <p:cNvPr id="318" name="Rectángulo 317" hidden="1">
            <a:extLst>
              <a:ext uri="{FF2B5EF4-FFF2-40B4-BE49-F238E27FC236}">
                <a16:creationId xmlns:a16="http://schemas.microsoft.com/office/drawing/2014/main" id="{DA0000CE-F12E-4391-8BB3-CBDBCEFCD7F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343" name="Rectángulo 342" hidden="1">
            <a:extLst>
              <a:ext uri="{FF2B5EF4-FFF2-40B4-BE49-F238E27FC236}">
                <a16:creationId xmlns:a16="http://schemas.microsoft.com/office/drawing/2014/main" id="{92509AE4-FA8F-4DFF-BF1A-3EAB1C6915D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AR" sz="1400" dirty="0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C8980456-775C-467C-AA32-44869B8D776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433513" y="158750"/>
            <a:ext cx="2857500" cy="652463"/>
          </a:xfrm>
          <a:prstGeom prst="roundRect">
            <a:avLst>
              <a:gd name="adj" fmla="val 27494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square" lIns="449263" tIns="0" rIns="4492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Candidato votado = </a:t>
            </a:r>
            <a:r>
              <a:rPr lang="es-AR" sz="1400" dirty="0" err="1"/>
              <a:t>Biden</a:t>
            </a:r>
            <a:r>
              <a:rPr lang="es-AR" sz="1400" dirty="0"/>
              <a:t> (media = 66%)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0: Trump / 1: </a:t>
            </a:r>
            <a:r>
              <a:rPr lang="es-AR" sz="1400" dirty="0" err="1"/>
              <a:t>Biden</a:t>
            </a:r>
            <a:r>
              <a:rPr lang="es-AR" sz="1400" dirty="0"/>
              <a:t>) </a:t>
            </a:r>
          </a:p>
        </p:txBody>
      </p:sp>
      <p:cxnSp>
        <p:nvCxnSpPr>
          <p:cNvPr id="116" name="Conector recto 115">
            <a:extLst>
              <a:ext uri="{FF2B5EF4-FFF2-40B4-BE49-F238E27FC236}">
                <a16:creationId xmlns:a16="http://schemas.microsoft.com/office/drawing/2014/main" id="{C9B4DA0B-F65B-42FC-B10F-F40CE1445A6F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908675" y="1781175"/>
            <a:ext cx="1879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Conector recto 116">
            <a:extLst>
              <a:ext uri="{FF2B5EF4-FFF2-40B4-BE49-F238E27FC236}">
                <a16:creationId xmlns:a16="http://schemas.microsoft.com/office/drawing/2014/main" id="{7661D20E-22E6-426F-A53B-4F88B4EA8CE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908675" y="944563"/>
            <a:ext cx="1879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Rectángulo 117">
            <a:extLst>
              <a:ext uri="{FF2B5EF4-FFF2-40B4-BE49-F238E27FC236}">
                <a16:creationId xmlns:a16="http://schemas.microsoft.com/office/drawing/2014/main" id="{15C01197-F594-4124-A450-B79303D47AF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848475" y="1781175"/>
            <a:ext cx="939800" cy="835025"/>
          </a:xfrm>
          <a:prstGeom prst="rect">
            <a:avLst/>
          </a:prstGeom>
          <a:solidFill>
            <a:srgbClr val="C30C3E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19" name="Rectángulo 118">
            <a:extLst>
              <a:ext uri="{FF2B5EF4-FFF2-40B4-BE49-F238E27FC236}">
                <a16:creationId xmlns:a16="http://schemas.microsoft.com/office/drawing/2014/main" id="{B7F0E354-A828-4277-AA19-824E467AD5A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848475" y="944563"/>
            <a:ext cx="939800" cy="836613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20" name="Rectángulo 119">
            <a:extLst>
              <a:ext uri="{FF2B5EF4-FFF2-40B4-BE49-F238E27FC236}">
                <a16:creationId xmlns:a16="http://schemas.microsoft.com/office/drawing/2014/main" id="{4712BDA8-4731-4C21-A76C-0A41EBD29EB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5908675" y="1781175"/>
            <a:ext cx="939800" cy="835025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21" name="Rectángulo 120">
            <a:extLst>
              <a:ext uri="{FF2B5EF4-FFF2-40B4-BE49-F238E27FC236}">
                <a16:creationId xmlns:a16="http://schemas.microsoft.com/office/drawing/2014/main" id="{C01C62D2-8A47-40A2-AEA4-C9D4C972F82B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908675" y="944563"/>
            <a:ext cx="939800" cy="836613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cxnSp>
        <p:nvCxnSpPr>
          <p:cNvPr id="122" name="Conector recto 121">
            <a:extLst>
              <a:ext uri="{FF2B5EF4-FFF2-40B4-BE49-F238E27FC236}">
                <a16:creationId xmlns:a16="http://schemas.microsoft.com/office/drawing/2014/main" id="{75E0C10B-F826-4D56-95BF-CD99929ACFB6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907088" y="2616200"/>
            <a:ext cx="1882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Conector recto 122">
            <a:extLst>
              <a:ext uri="{FF2B5EF4-FFF2-40B4-BE49-F238E27FC236}">
                <a16:creationId xmlns:a16="http://schemas.microsoft.com/office/drawing/2014/main" id="{1AAB36DD-5C92-4B7E-A596-B83BACE293FC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5908675" y="939800"/>
            <a:ext cx="0" cy="1681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4" name="Marcador de texto 2">
            <a:extLst>
              <a:ext uri="{FF2B5EF4-FFF2-40B4-BE49-F238E27FC236}">
                <a16:creationId xmlns:a16="http://schemas.microsoft.com/office/drawing/2014/main" id="{A3610E64-20F8-419E-A277-BF3FB32C2AB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032500" y="2006600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>
                <a:solidFill>
                  <a:schemeClr val="bg1"/>
                </a:solidFill>
              </a:rPr>
              <a:t>86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(n = 337)</a:t>
            </a:r>
          </a:p>
        </p:txBody>
      </p:sp>
      <p:sp>
        <p:nvSpPr>
          <p:cNvPr id="125" name="Marcador de texto 2">
            <a:extLst>
              <a:ext uri="{FF2B5EF4-FFF2-40B4-BE49-F238E27FC236}">
                <a16:creationId xmlns:a16="http://schemas.microsoft.com/office/drawing/2014/main" id="{D1D21983-E1E3-4744-95B7-32F3BA8D734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915025" y="3009900"/>
            <a:ext cx="18669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Impartial Beneficence (IB)</a:t>
            </a:r>
            <a:endParaRPr lang="es-AR" sz="1400" dirty="0"/>
          </a:p>
        </p:txBody>
      </p:sp>
      <p:sp>
        <p:nvSpPr>
          <p:cNvPr id="126" name="Marcador de texto 2">
            <a:extLst>
              <a:ext uri="{FF2B5EF4-FFF2-40B4-BE49-F238E27FC236}">
                <a16:creationId xmlns:a16="http://schemas.microsoft.com/office/drawing/2014/main" id="{8CAA4DB4-1BC2-4423-81ED-3DE83B07878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032500" y="1169988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85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197)</a:t>
            </a:r>
          </a:p>
        </p:txBody>
      </p:sp>
      <p:sp>
        <p:nvSpPr>
          <p:cNvPr id="127" name="Marcador de texto 2">
            <a:extLst>
              <a:ext uri="{FF2B5EF4-FFF2-40B4-BE49-F238E27FC236}">
                <a16:creationId xmlns:a16="http://schemas.microsoft.com/office/drawing/2014/main" id="{419533B0-3E78-4FE0-8B58-141C3A13083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230938" y="2674938"/>
            <a:ext cx="2952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Low</a:t>
            </a:r>
            <a:endParaRPr lang="es-AR" sz="1400" dirty="0"/>
          </a:p>
        </p:txBody>
      </p:sp>
      <p:sp>
        <p:nvSpPr>
          <p:cNvPr id="128" name="Marcador de texto 2">
            <a:extLst>
              <a:ext uri="{FF2B5EF4-FFF2-40B4-BE49-F238E27FC236}">
                <a16:creationId xmlns:a16="http://schemas.microsoft.com/office/drawing/2014/main" id="{78A7680B-F219-429C-ABC2-677EC9D41EA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972300" y="1169988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85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386)</a:t>
            </a:r>
          </a:p>
        </p:txBody>
      </p:sp>
      <p:sp>
        <p:nvSpPr>
          <p:cNvPr id="129" name="Marcador de texto 2">
            <a:extLst>
              <a:ext uri="{FF2B5EF4-FFF2-40B4-BE49-F238E27FC236}">
                <a16:creationId xmlns:a16="http://schemas.microsoft.com/office/drawing/2014/main" id="{801D6813-A8D0-4414-9E5D-748675FCED8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972299" y="2006600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>
                <a:solidFill>
                  <a:schemeClr val="bg1"/>
                </a:solidFill>
              </a:rPr>
              <a:t>82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(n = 213)</a:t>
            </a:r>
          </a:p>
        </p:txBody>
      </p:sp>
      <p:sp>
        <p:nvSpPr>
          <p:cNvPr id="130" name="Marcador de texto 2">
            <a:extLst>
              <a:ext uri="{FF2B5EF4-FFF2-40B4-BE49-F238E27FC236}">
                <a16:creationId xmlns:a16="http://schemas.microsoft.com/office/drawing/2014/main" id="{CA6231AE-03B6-4D81-8EAC-CA5D3D4E43A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153275" y="2674938"/>
            <a:ext cx="330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High</a:t>
            </a:r>
            <a:endParaRPr lang="es-AR" sz="1400" dirty="0"/>
          </a:p>
        </p:txBody>
      </p:sp>
      <p:pic>
        <p:nvPicPr>
          <p:cNvPr id="131" name="Imagen 130">
            <a:extLst>
              <a:ext uri="{FF2B5EF4-FFF2-40B4-BE49-F238E27FC236}">
                <a16:creationId xmlns:a16="http://schemas.microsoft.com/office/drawing/2014/main" id="{DE6812C7-F0B9-4130-B793-D9628343BFD1}"/>
              </a:ext>
            </a:extLst>
          </p:cNvPr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5637213" y="1131888"/>
            <a:ext cx="222514" cy="460375"/>
          </a:xfrm>
          <a:prstGeom prst="rect">
            <a:avLst/>
          </a:prstGeom>
        </p:spPr>
      </p:pic>
      <p:pic>
        <p:nvPicPr>
          <p:cNvPr id="132" name="Imagen 131">
            <a:extLst>
              <a:ext uri="{FF2B5EF4-FFF2-40B4-BE49-F238E27FC236}">
                <a16:creationId xmlns:a16="http://schemas.microsoft.com/office/drawing/2014/main" id="{53D041BF-2A0A-41FF-8DFF-D9EC28B1ECF3}"/>
              </a:ext>
            </a:extLst>
          </p:cNvPr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5568951" y="2008188"/>
            <a:ext cx="290767" cy="382588"/>
          </a:xfrm>
          <a:prstGeom prst="rect">
            <a:avLst/>
          </a:prstGeom>
        </p:spPr>
      </p:pic>
      <p:pic>
        <p:nvPicPr>
          <p:cNvPr id="133" name="Imagen 132">
            <a:extLst>
              <a:ext uri="{FF2B5EF4-FFF2-40B4-BE49-F238E27FC236}">
                <a16:creationId xmlns:a16="http://schemas.microsoft.com/office/drawing/2014/main" id="{83419C0C-C2E8-4F1B-9D48-BE990B3BE9E6}"/>
              </a:ext>
            </a:extLst>
          </p:cNvPr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5283200" y="985838"/>
            <a:ext cx="237304" cy="1806575"/>
          </a:xfrm>
          <a:prstGeom prst="rect">
            <a:avLst/>
          </a:prstGeom>
        </p:spPr>
      </p:pic>
      <p:sp>
        <p:nvSpPr>
          <p:cNvPr id="134" name="Marcador de texto 2">
            <a:extLst>
              <a:ext uri="{FF2B5EF4-FFF2-40B4-BE49-F238E27FC236}">
                <a16:creationId xmlns:a16="http://schemas.microsoft.com/office/drawing/2014/main" id="{6BA6052E-09AA-4DF7-AC58-E09817724C8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449888" y="158750"/>
            <a:ext cx="2857500" cy="652463"/>
          </a:xfrm>
          <a:prstGeom prst="roundRect">
            <a:avLst>
              <a:gd name="adj" fmla="val 27494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82550" rIns="0" bIns="809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Grupo étnico = blanco (media = 85%)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0: Trump / 1: </a:t>
            </a:r>
            <a:r>
              <a:rPr lang="es-AR" sz="1400" dirty="0" err="1"/>
              <a:t>Biden</a:t>
            </a:r>
            <a:r>
              <a:rPr lang="es-AR" sz="1400" dirty="0"/>
              <a:t>) </a:t>
            </a:r>
          </a:p>
        </p:txBody>
      </p:sp>
      <p:cxnSp>
        <p:nvCxnSpPr>
          <p:cNvPr id="141" name="Conector recto 140">
            <a:extLst>
              <a:ext uri="{FF2B5EF4-FFF2-40B4-BE49-F238E27FC236}">
                <a16:creationId xmlns:a16="http://schemas.microsoft.com/office/drawing/2014/main" id="{26BA358F-9732-4891-9A5D-F88A359F4BED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892300" y="5051425"/>
            <a:ext cx="1879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Conector recto 141">
            <a:extLst>
              <a:ext uri="{FF2B5EF4-FFF2-40B4-BE49-F238E27FC236}">
                <a16:creationId xmlns:a16="http://schemas.microsoft.com/office/drawing/2014/main" id="{B7C6D4E1-68E8-4615-87D3-A74A160AD14A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1892300" y="4214813"/>
            <a:ext cx="1879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3" name="Rectángulo 142">
            <a:extLst>
              <a:ext uri="{FF2B5EF4-FFF2-40B4-BE49-F238E27FC236}">
                <a16:creationId xmlns:a16="http://schemas.microsoft.com/office/drawing/2014/main" id="{17AA36B1-C90B-4B27-B3BC-7647AFCFB955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832100" y="5051425"/>
            <a:ext cx="939800" cy="835025"/>
          </a:xfrm>
          <a:prstGeom prst="rect">
            <a:avLst/>
          </a:prstGeom>
          <a:solidFill>
            <a:srgbClr val="C30C3E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44" name="Rectángulo 143">
            <a:extLst>
              <a:ext uri="{FF2B5EF4-FFF2-40B4-BE49-F238E27FC236}">
                <a16:creationId xmlns:a16="http://schemas.microsoft.com/office/drawing/2014/main" id="{31A4BFA9-5E89-47D7-8894-CB659673E039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2832100" y="4214813"/>
            <a:ext cx="939800" cy="836613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45" name="Rectángulo 144">
            <a:extLst>
              <a:ext uri="{FF2B5EF4-FFF2-40B4-BE49-F238E27FC236}">
                <a16:creationId xmlns:a16="http://schemas.microsoft.com/office/drawing/2014/main" id="{6877578C-A55A-409B-9701-96452B20CDA3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892300" y="5051425"/>
            <a:ext cx="939800" cy="835025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47" name="Rectángulo 146">
            <a:extLst>
              <a:ext uri="{FF2B5EF4-FFF2-40B4-BE49-F238E27FC236}">
                <a16:creationId xmlns:a16="http://schemas.microsoft.com/office/drawing/2014/main" id="{EAD16485-E601-4889-8A14-EDFD1A3953A5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892300" y="4214813"/>
            <a:ext cx="939800" cy="836613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cxnSp>
        <p:nvCxnSpPr>
          <p:cNvPr id="148" name="Conector recto 147">
            <a:extLst>
              <a:ext uri="{FF2B5EF4-FFF2-40B4-BE49-F238E27FC236}">
                <a16:creationId xmlns:a16="http://schemas.microsoft.com/office/drawing/2014/main" id="{73B447AE-57E5-4472-BE55-375E3CEC4BCB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1890713" y="5886450"/>
            <a:ext cx="1882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Conector recto 148">
            <a:extLst>
              <a:ext uri="{FF2B5EF4-FFF2-40B4-BE49-F238E27FC236}">
                <a16:creationId xmlns:a16="http://schemas.microsoft.com/office/drawing/2014/main" id="{262A6523-9B86-4C82-8469-CC8CCF97C115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V="1">
            <a:off x="1892300" y="4210050"/>
            <a:ext cx="0" cy="1681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0" name="Marcador de texto 2">
            <a:extLst>
              <a:ext uri="{FF2B5EF4-FFF2-40B4-BE49-F238E27FC236}">
                <a16:creationId xmlns:a16="http://schemas.microsoft.com/office/drawing/2014/main" id="{BBB35862-3353-49F8-ABA5-21B9476A2A8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016125" y="5276850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44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337)</a:t>
            </a:r>
          </a:p>
        </p:txBody>
      </p:sp>
      <p:sp>
        <p:nvSpPr>
          <p:cNvPr id="151" name="Marcador de texto 2">
            <a:extLst>
              <a:ext uri="{FF2B5EF4-FFF2-40B4-BE49-F238E27FC236}">
                <a16:creationId xmlns:a16="http://schemas.microsoft.com/office/drawing/2014/main" id="{1FCFC2CF-28FE-4765-8F83-DFCA32FE77D1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898650" y="6280150"/>
            <a:ext cx="18669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Impartial Beneficence (IB)</a:t>
            </a:r>
            <a:endParaRPr lang="es-AR" sz="1400" dirty="0"/>
          </a:p>
        </p:txBody>
      </p:sp>
      <p:sp>
        <p:nvSpPr>
          <p:cNvPr id="152" name="Marcador de texto 2">
            <a:extLst>
              <a:ext uri="{FF2B5EF4-FFF2-40B4-BE49-F238E27FC236}">
                <a16:creationId xmlns:a16="http://schemas.microsoft.com/office/drawing/2014/main" id="{055E9D77-9888-4C85-9EC8-8DA998B375A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016125" y="4440238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57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(n = 197)</a:t>
            </a:r>
          </a:p>
        </p:txBody>
      </p:sp>
      <p:sp>
        <p:nvSpPr>
          <p:cNvPr id="153" name="Marcador de texto 2">
            <a:extLst>
              <a:ext uri="{FF2B5EF4-FFF2-40B4-BE49-F238E27FC236}">
                <a16:creationId xmlns:a16="http://schemas.microsoft.com/office/drawing/2014/main" id="{CE20DDCD-BAF9-4FF7-A954-D2B71122D01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214563" y="5945188"/>
            <a:ext cx="2952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Low</a:t>
            </a:r>
            <a:endParaRPr lang="es-AR" sz="1400" dirty="0"/>
          </a:p>
        </p:txBody>
      </p:sp>
      <p:sp>
        <p:nvSpPr>
          <p:cNvPr id="154" name="Marcador de texto 2">
            <a:extLst>
              <a:ext uri="{FF2B5EF4-FFF2-40B4-BE49-F238E27FC236}">
                <a16:creationId xmlns:a16="http://schemas.microsoft.com/office/drawing/2014/main" id="{39AF8EBD-727A-4AF0-BEB0-E7DAE091528D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955925" y="4440238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55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386)</a:t>
            </a:r>
          </a:p>
        </p:txBody>
      </p:sp>
      <p:sp>
        <p:nvSpPr>
          <p:cNvPr id="155" name="Marcador de texto 2">
            <a:extLst>
              <a:ext uri="{FF2B5EF4-FFF2-40B4-BE49-F238E27FC236}">
                <a16:creationId xmlns:a16="http://schemas.microsoft.com/office/drawing/2014/main" id="{F0A91D72-20E0-4B04-8AF3-9131D5F74002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2955925" y="5276850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>
                <a:solidFill>
                  <a:schemeClr val="bg1"/>
                </a:solidFill>
              </a:rPr>
              <a:t>35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(n = 213)</a:t>
            </a:r>
          </a:p>
        </p:txBody>
      </p:sp>
      <p:sp>
        <p:nvSpPr>
          <p:cNvPr id="156" name="Marcador de texto 2">
            <a:extLst>
              <a:ext uri="{FF2B5EF4-FFF2-40B4-BE49-F238E27FC236}">
                <a16:creationId xmlns:a16="http://schemas.microsoft.com/office/drawing/2014/main" id="{666EDB8E-F0C0-4B47-ADB0-87BE2A71B55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136900" y="5945188"/>
            <a:ext cx="330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High</a:t>
            </a:r>
            <a:endParaRPr lang="es-AR" sz="1400" dirty="0"/>
          </a:p>
        </p:txBody>
      </p:sp>
      <p:pic>
        <p:nvPicPr>
          <p:cNvPr id="157" name="Imagen 156">
            <a:extLst>
              <a:ext uri="{FF2B5EF4-FFF2-40B4-BE49-F238E27FC236}">
                <a16:creationId xmlns:a16="http://schemas.microsoft.com/office/drawing/2014/main" id="{EF1D19FA-C500-4246-87ED-729F1A4C1843}"/>
              </a:ext>
            </a:extLst>
          </p:cNvPr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1620838" y="4402138"/>
            <a:ext cx="222514" cy="460375"/>
          </a:xfrm>
          <a:prstGeom prst="rect">
            <a:avLst/>
          </a:prstGeom>
        </p:spPr>
      </p:pic>
      <p:pic>
        <p:nvPicPr>
          <p:cNvPr id="158" name="Imagen 157">
            <a:extLst>
              <a:ext uri="{FF2B5EF4-FFF2-40B4-BE49-F238E27FC236}">
                <a16:creationId xmlns:a16="http://schemas.microsoft.com/office/drawing/2014/main" id="{ABF54C6A-28A1-4B53-8DDE-27BAA24C3D66}"/>
              </a:ext>
            </a:extLst>
          </p:cNvPr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1552575" y="5278438"/>
            <a:ext cx="290767" cy="382588"/>
          </a:xfrm>
          <a:prstGeom prst="rect">
            <a:avLst/>
          </a:prstGeom>
        </p:spPr>
      </p:pic>
      <p:pic>
        <p:nvPicPr>
          <p:cNvPr id="159" name="Imagen 158">
            <a:extLst>
              <a:ext uri="{FF2B5EF4-FFF2-40B4-BE49-F238E27FC236}">
                <a16:creationId xmlns:a16="http://schemas.microsoft.com/office/drawing/2014/main" id="{46B5B60F-56F6-4EE7-9EF7-52C202F2A025}"/>
              </a:ext>
            </a:extLst>
          </p:cNvPr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1266825" y="4256088"/>
            <a:ext cx="237304" cy="1806575"/>
          </a:xfrm>
          <a:prstGeom prst="rect">
            <a:avLst/>
          </a:prstGeom>
        </p:spPr>
      </p:pic>
      <p:sp>
        <p:nvSpPr>
          <p:cNvPr id="160" name="Marcador de texto 2">
            <a:extLst>
              <a:ext uri="{FF2B5EF4-FFF2-40B4-BE49-F238E27FC236}">
                <a16:creationId xmlns:a16="http://schemas.microsoft.com/office/drawing/2014/main" id="{04CD8403-7B94-480E-8DBD-E10F8B7521D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433513" y="3429000"/>
            <a:ext cx="2857500" cy="652463"/>
          </a:xfrm>
          <a:prstGeom prst="roundRect">
            <a:avLst>
              <a:gd name="adj" fmla="val 27494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82550" rIns="0" bIns="809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Género = hombre (media = 52%)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0: mujer / 1: hombre) </a:t>
            </a:r>
          </a:p>
        </p:txBody>
      </p:sp>
      <p:cxnSp>
        <p:nvCxnSpPr>
          <p:cNvPr id="169" name="Conector recto 168">
            <a:extLst>
              <a:ext uri="{FF2B5EF4-FFF2-40B4-BE49-F238E27FC236}">
                <a16:creationId xmlns:a16="http://schemas.microsoft.com/office/drawing/2014/main" id="{8EEF35ED-26ED-4425-B61F-692051C30ED2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5908675" y="5051425"/>
            <a:ext cx="1879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Conector recto 169">
            <a:extLst>
              <a:ext uri="{FF2B5EF4-FFF2-40B4-BE49-F238E27FC236}">
                <a16:creationId xmlns:a16="http://schemas.microsoft.com/office/drawing/2014/main" id="{F0775687-C065-445B-B78A-8CDD5C73D3A7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5908675" y="4214813"/>
            <a:ext cx="1879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1" name="Rectángulo 170">
            <a:extLst>
              <a:ext uri="{FF2B5EF4-FFF2-40B4-BE49-F238E27FC236}">
                <a16:creationId xmlns:a16="http://schemas.microsoft.com/office/drawing/2014/main" id="{85425D2A-AE04-47B5-B1A1-7DCBB15CE22F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6848475" y="5051425"/>
            <a:ext cx="939800" cy="835025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72" name="Rectángulo 171">
            <a:extLst>
              <a:ext uri="{FF2B5EF4-FFF2-40B4-BE49-F238E27FC236}">
                <a16:creationId xmlns:a16="http://schemas.microsoft.com/office/drawing/2014/main" id="{272A879C-3B3B-475D-BE2C-25B6FB088D70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6848475" y="4214813"/>
            <a:ext cx="939800" cy="836613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74" name="Rectángulo 173">
            <a:extLst>
              <a:ext uri="{FF2B5EF4-FFF2-40B4-BE49-F238E27FC236}">
                <a16:creationId xmlns:a16="http://schemas.microsoft.com/office/drawing/2014/main" id="{5DC60506-3B93-4A0F-B75E-D625CB049464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5908675" y="5051425"/>
            <a:ext cx="939800" cy="835025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75" name="Rectángulo 174">
            <a:extLst>
              <a:ext uri="{FF2B5EF4-FFF2-40B4-BE49-F238E27FC236}">
                <a16:creationId xmlns:a16="http://schemas.microsoft.com/office/drawing/2014/main" id="{91BFE552-7691-4940-A245-7A413DC1EE1B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5908675" y="4214813"/>
            <a:ext cx="939800" cy="836613"/>
          </a:xfrm>
          <a:prstGeom prst="rect">
            <a:avLst/>
          </a:prstGeom>
          <a:solidFill>
            <a:srgbClr val="C30C3E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cxnSp>
        <p:nvCxnSpPr>
          <p:cNvPr id="176" name="Conector recto 175">
            <a:extLst>
              <a:ext uri="{FF2B5EF4-FFF2-40B4-BE49-F238E27FC236}">
                <a16:creationId xmlns:a16="http://schemas.microsoft.com/office/drawing/2014/main" id="{7B5EB0E2-57AA-4FDF-994D-2A883EC640D8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5907088" y="5886450"/>
            <a:ext cx="1882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Conector recto 176">
            <a:extLst>
              <a:ext uri="{FF2B5EF4-FFF2-40B4-BE49-F238E27FC236}">
                <a16:creationId xmlns:a16="http://schemas.microsoft.com/office/drawing/2014/main" id="{24974A34-3EC2-4B1A-89F7-BC134E1FAC86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V="1">
            <a:off x="5908675" y="4210050"/>
            <a:ext cx="0" cy="16811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8" name="Marcador de texto 2">
            <a:extLst>
              <a:ext uri="{FF2B5EF4-FFF2-40B4-BE49-F238E27FC236}">
                <a16:creationId xmlns:a16="http://schemas.microsoft.com/office/drawing/2014/main" id="{B4329EAD-C03A-4682-92C1-ADCDB7F742D4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6032500" y="5276850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64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369)</a:t>
            </a:r>
          </a:p>
        </p:txBody>
      </p:sp>
      <p:sp>
        <p:nvSpPr>
          <p:cNvPr id="179" name="Marcador de texto 2">
            <a:extLst>
              <a:ext uri="{FF2B5EF4-FFF2-40B4-BE49-F238E27FC236}">
                <a16:creationId xmlns:a16="http://schemas.microsoft.com/office/drawing/2014/main" id="{84A6FB9C-8456-4445-8E16-253912220728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915025" y="6280150"/>
            <a:ext cx="18669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Impartial Beneficence (IB)</a:t>
            </a:r>
            <a:endParaRPr lang="es-AR" sz="1400" dirty="0"/>
          </a:p>
        </p:txBody>
      </p:sp>
      <p:sp>
        <p:nvSpPr>
          <p:cNvPr id="180" name="Marcador de texto 2">
            <a:extLst>
              <a:ext uri="{FF2B5EF4-FFF2-40B4-BE49-F238E27FC236}">
                <a16:creationId xmlns:a16="http://schemas.microsoft.com/office/drawing/2014/main" id="{79A3E7BB-7A9C-4B85-85B8-94AF50DD87CB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032500" y="4440238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52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(n = 217)</a:t>
            </a:r>
          </a:p>
        </p:txBody>
      </p:sp>
      <p:sp>
        <p:nvSpPr>
          <p:cNvPr id="181" name="Marcador de texto 2">
            <a:extLst>
              <a:ext uri="{FF2B5EF4-FFF2-40B4-BE49-F238E27FC236}">
                <a16:creationId xmlns:a16="http://schemas.microsoft.com/office/drawing/2014/main" id="{6E633DE1-10A9-42D3-A12D-8543EBC7D077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230938" y="5945188"/>
            <a:ext cx="2952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Low</a:t>
            </a:r>
            <a:endParaRPr lang="es-AR" sz="1400" dirty="0"/>
          </a:p>
        </p:txBody>
      </p:sp>
      <p:sp>
        <p:nvSpPr>
          <p:cNvPr id="182" name="Marcador de texto 2">
            <a:extLst>
              <a:ext uri="{FF2B5EF4-FFF2-40B4-BE49-F238E27FC236}">
                <a16:creationId xmlns:a16="http://schemas.microsoft.com/office/drawing/2014/main" id="{5F1568FD-D7A5-4A7D-A067-94B317F4E2F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972300" y="4440238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>
                <a:solidFill>
                  <a:schemeClr val="bg1"/>
                </a:solidFill>
              </a:rPr>
              <a:t>69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>
                <a:solidFill>
                  <a:schemeClr val="bg1"/>
                </a:solidFill>
              </a:rPr>
              <a:t>(n = 447)</a:t>
            </a:r>
          </a:p>
        </p:txBody>
      </p:sp>
      <p:sp>
        <p:nvSpPr>
          <p:cNvPr id="184" name="Marcador de texto 2">
            <a:extLst>
              <a:ext uri="{FF2B5EF4-FFF2-40B4-BE49-F238E27FC236}">
                <a16:creationId xmlns:a16="http://schemas.microsoft.com/office/drawing/2014/main" id="{829D1505-BD63-452A-BC13-E2A238795CE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972300" y="5276850"/>
            <a:ext cx="6921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57%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n = 245)</a:t>
            </a:r>
          </a:p>
        </p:txBody>
      </p:sp>
      <p:sp>
        <p:nvSpPr>
          <p:cNvPr id="185" name="Marcador de texto 2">
            <a:extLst>
              <a:ext uri="{FF2B5EF4-FFF2-40B4-BE49-F238E27FC236}">
                <a16:creationId xmlns:a16="http://schemas.microsoft.com/office/drawing/2014/main" id="{43D38513-7C6C-4F0B-B6D8-9D08D022C294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153275" y="5945188"/>
            <a:ext cx="330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altLang="en-US" sz="1400" dirty="0"/>
              <a:t>High</a:t>
            </a:r>
            <a:endParaRPr lang="es-AR" sz="1400" dirty="0"/>
          </a:p>
        </p:txBody>
      </p:sp>
      <p:pic>
        <p:nvPicPr>
          <p:cNvPr id="186" name="Imagen 185">
            <a:extLst>
              <a:ext uri="{FF2B5EF4-FFF2-40B4-BE49-F238E27FC236}">
                <a16:creationId xmlns:a16="http://schemas.microsoft.com/office/drawing/2014/main" id="{957626E6-C4B8-41BE-AE53-8BBAE3FDD404}"/>
              </a:ext>
            </a:extLst>
          </p:cNvPr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5637213" y="4402138"/>
            <a:ext cx="222514" cy="460375"/>
          </a:xfrm>
          <a:prstGeom prst="rect">
            <a:avLst/>
          </a:prstGeom>
        </p:spPr>
      </p:pic>
      <p:pic>
        <p:nvPicPr>
          <p:cNvPr id="188" name="Imagen 187">
            <a:extLst>
              <a:ext uri="{FF2B5EF4-FFF2-40B4-BE49-F238E27FC236}">
                <a16:creationId xmlns:a16="http://schemas.microsoft.com/office/drawing/2014/main" id="{F097DA48-3EFF-47DE-A67C-71B9038EAAFE}"/>
              </a:ext>
            </a:extLst>
          </p:cNvPr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5568950" y="5278438"/>
            <a:ext cx="290767" cy="382588"/>
          </a:xfrm>
          <a:prstGeom prst="rect">
            <a:avLst/>
          </a:prstGeom>
        </p:spPr>
      </p:pic>
      <p:pic>
        <p:nvPicPr>
          <p:cNvPr id="189" name="Imagen 188">
            <a:extLst>
              <a:ext uri="{FF2B5EF4-FFF2-40B4-BE49-F238E27FC236}">
                <a16:creationId xmlns:a16="http://schemas.microsoft.com/office/drawing/2014/main" id="{3A78927A-1EAC-431D-B3E3-091564A217D7}"/>
              </a:ext>
            </a:extLst>
          </p:cNvPr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5283200" y="4256088"/>
            <a:ext cx="237304" cy="1806575"/>
          </a:xfrm>
          <a:prstGeom prst="rect">
            <a:avLst/>
          </a:prstGeom>
        </p:spPr>
      </p:pic>
      <p:sp>
        <p:nvSpPr>
          <p:cNvPr id="190" name="Marcador de texto 2">
            <a:extLst>
              <a:ext uri="{FF2B5EF4-FFF2-40B4-BE49-F238E27FC236}">
                <a16:creationId xmlns:a16="http://schemas.microsoft.com/office/drawing/2014/main" id="{0850EAB9-3D8D-409E-BA70-14F0D4857277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5449888" y="3429000"/>
            <a:ext cx="2857500" cy="652463"/>
          </a:xfrm>
          <a:prstGeom prst="roundRect">
            <a:avLst>
              <a:gd name="adj" fmla="val 27494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square" lIns="119063" tIns="0" rIns="1174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Educación = Univ. completo (media = 62%)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AR" sz="1400" dirty="0"/>
              <a:t>(1: Univ. Inc. / 2: Univ. Completo) </a:t>
            </a:r>
          </a:p>
        </p:txBody>
      </p:sp>
    </p:spTree>
    <p:extLst>
      <p:ext uri="{BB962C8B-B14F-4D97-AF65-F5344CB8AC3E}">
        <p14:creationId xmlns:p14="http://schemas.microsoft.com/office/powerpoint/2010/main" val="1592930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#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mAnjThb7Hx4ydQqtVcO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Qz5Clx2K1._rFiE5IM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4UPk4y_Oo0nAUDOMZqE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M2rT2SLkPYGMo_ibGm9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7e.gCSg_6OuXQ4QvJm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wV1Z6wP5g_kLhFnoM9Z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vq4ocV47pMdcBGxfMEe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iFL3B8DuBZ0IbASC3Y0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pMc7TacvyhBDREGAl3C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.gwY99UWSauDJL_DIPu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C1nOYBJNF1vwq.3khe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vGhxnDbHCXyByVOg0N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LyWMRXgBDcDALylTqpw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nV_IKdJuLwCPehBo863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RxmhwSrCKDuzhOTnPZK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ZECss6vhF1PEuFYOxfG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va.ULEb.3U21EbrwpO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3A3gh5SNbVFFJyZDeJk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98ufLtf6pu3SzRkxLrl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4vPCp9dG28aM0yu.9HH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Cru6o_KKTUDLYQGaBxo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FmIbXcmnOp26RsNIs0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g87MerXglEJ_dgNRzXH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WzWEReb2fJHPWef38I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92ax0SUy_cjPswNOQ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mQq3HawE9gS2O9CbrH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hIqtKeQPx7kLrdXbjn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znWhh5666DBI__Tvui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yFG_BurWbZPCCeN1nj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Kr2REHvb_W_Heva8Wo_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39Aw5P7E5xaP3eGAW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ojHLcUdi_5zqX6pK7J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1u9LHKTbLPG.upgdF6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DjpgOh0N9ythyc37LA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Rfl6jtlx4D8.Y_r5Fw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G71LNBuJX.2BBEhdxV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KjCCm76x78r3_qvXm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_MyKg3oFMQuLM.dF_N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M9sjwif3QXt9exm_pG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.e1M0ymEWJzpnc4o4o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Ds_LvIIPswYPS5aTjI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hJWxd.fMNPqVR6WaM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nnLOa7yu5hONa2bFfH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OJUVhE2v1A1PmMOg4P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n2asMxrgM5KDPtuoZe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NIoVrgjiP_IXHooT3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coRnky3xXnPIxKfx7iK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WMDYkaeTiiaFd2Npy8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PXzTIhZo8xlltxYxG47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BNSiUuFb7CUbFwzEm6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I7Lxlwnz54m6LcWR.M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tevp60LX.Up4u8qJwT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gNBlWRmlOBuzM3BXbh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66vl2ieDbZq4AZGKKh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_PBlhF0wlmjsZFZG1JP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2SVv2deWULNiNYEtn3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RtqyOBSoAYy0SnCflbx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UIp1DUXWRLWF4VI9n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k.sBQwWqQpIc7WbsCqX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98TOC8u9_FhmYTkSn3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Wc_1fDq46mqViiy4vj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Ia0vXzQ5aJx6onQxQW9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HmiSp2htswZe8.nPhL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Ywdiet58EvCZoi5Ij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XObMQ8jgCQKubDx0x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DvX0wPItt.HWr1kvYU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4UsJ0Jm20yK0qoarvY7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S3FLDUFSnaXIFsnRc91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gNBlWRmlOBuzM3BXbh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66vl2ieDbZq4AZGKKhA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_PBlhF0wlmjsZFZG1J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8Axhw6Na3KpuMix0OkF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2SVv2deWULNiNYEtn3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RtqyOBSoAYy0SnCflbx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UIp1DUXWRLWF4VI9n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k.sBQwWqQpIc7WbsCq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98TOC8u9_FhmYTkSn3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Wc_1fDq46mqViiy4vj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HmiSp2htswZe8.nPhLm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Ywdiet58EvCZoi5Ije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bXObMQ8jgCQKubDx0xf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DvX0wPItt.HWr1kvYU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11QVsGPTDs6Qn83o7U8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4UsJ0Jm20yK0qoarvY7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S3FLDUFSnaXIFsnRc91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7anStF.hAzokhad6iS6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PnBrs0xPmGVheXVyXnJ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7nH69AnGRLxh9Wanvv8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mGKfMMP7V5XszDSy.sm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G9_IydSigta92KDyIo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TjtkoM_Xtm0_pxFrnRQ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aqFanr6HXxw6lcA0BDA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BHgN7OsI7oFb5NwJy1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JAZaq0xdzn8.UMPtz7f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M0R3VuxAUDeeM0L6pzG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bTOF5ZdcQZo9q_ZhJ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9I7Pk6by87eu9OMLRW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shjHbE4ZgBXMgTi2cU_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R949x7fZyYpRjTQC3J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_xtC1eIvOWBbwfQ9Ft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kyskWx_460DgW7ktq4L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wzrrFwTK614EylqDvmL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YT1MZL4Jywpo9dXgTiE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bajkkDTV8ZwELb_kya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AQDIoxz6J_6KxpfngR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5wi4PXLBgcl6CBaDXSK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MFZroYl_NWJnk0d5ZI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L5Vg5OcWSuvM.jhImu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XIWIk2BvcgdanhZL.c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NqAPKsQWkw1YP.aVA3p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apLsCyDOi5O9Pz77wof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cJCp3ZQxPL_BWfJD8J_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BbZtwENRowr6Play9R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A6QqtCiR9NLrGVcWqK8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bS4fQhCKGW6ioLG9n8S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</TotalTime>
  <Words>290</Words>
  <Application>Microsoft Office PowerPoint</Application>
  <PresentationFormat>Panorámica</PresentationFormat>
  <Paragraphs>93</Paragraphs>
  <Slides>3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Tema de Office</vt:lpstr>
      <vt:lpstr>Diapositiva de think-cell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lejandro Romanisio</dc:creator>
  <cp:lastModifiedBy>Alejandro Romanisio</cp:lastModifiedBy>
  <cp:revision>11</cp:revision>
  <dcterms:created xsi:type="dcterms:W3CDTF">2021-03-28T16:31:07Z</dcterms:created>
  <dcterms:modified xsi:type="dcterms:W3CDTF">2021-03-28T19:11:20Z</dcterms:modified>
</cp:coreProperties>
</file>